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579" r:id="rId2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 autoAdjust="0"/>
  </p:normalViewPr>
  <p:slideViewPr>
    <p:cSldViewPr snapToGrid="0">
      <p:cViewPr varScale="1">
        <p:scale>
          <a:sx n="66" d="100"/>
          <a:sy n="66" d="100"/>
        </p:scale>
        <p:origin x="780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E9D-41C3-9D03-31F6E41C93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Professional Services</c:v>
                </c:pt>
                <c:pt idx="1">
                  <c:v>Government</c:v>
                </c:pt>
                <c:pt idx="2">
                  <c:v>TMT</c:v>
                </c:pt>
                <c:pt idx="3">
                  <c:v>Finance</c:v>
                </c:pt>
                <c:pt idx="4">
                  <c:v>Manufacturing</c:v>
                </c:pt>
                <c:pt idx="5">
                  <c:v>Education</c:v>
                </c:pt>
                <c:pt idx="6">
                  <c:v>Healthcare</c:v>
                </c:pt>
                <c:pt idx="7">
                  <c:v>Retail</c:v>
                </c:pt>
                <c:pt idx="8">
                  <c:v>Entertainment</c:v>
                </c:pt>
                <c:pt idx="9">
                  <c:v>Utilities</c:v>
                </c:pt>
                <c:pt idx="10">
                  <c:v>Other industries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23320417473907881</c:v>
                </c:pt>
                <c:pt idx="1">
                  <c:v>0.21383038560089995</c:v>
                </c:pt>
                <c:pt idx="2">
                  <c:v>0.17095806512092995</c:v>
                </c:pt>
                <c:pt idx="3">
                  <c:v>4.7153302918567591E-2</c:v>
                </c:pt>
                <c:pt idx="4">
                  <c:v>2.8810699331291795E-2</c:v>
                </c:pt>
                <c:pt idx="5">
                  <c:v>2.5592150490594337E-2</c:v>
                </c:pt>
                <c:pt idx="6">
                  <c:v>2.4935941503656023E-2</c:v>
                </c:pt>
                <c:pt idx="7">
                  <c:v>8.9681894881569902E-3</c:v>
                </c:pt>
                <c:pt idx="8">
                  <c:v>5.7496406474595342E-3</c:v>
                </c:pt>
                <c:pt idx="9">
                  <c:v>0.01</c:v>
                </c:pt>
                <c:pt idx="10">
                  <c:v>0.23617273920379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2A-4CD0-8875-9F3F4F8F4F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"/>
        <c:overlap val="-100"/>
        <c:axId val="1880605936"/>
        <c:axId val="1880622576"/>
      </c:barChart>
      <c:catAx>
        <c:axId val="18806059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80622576"/>
        <c:crosses val="autoZero"/>
        <c:auto val="1"/>
        <c:lblAlgn val="ctr"/>
        <c:lblOffset val="100"/>
        <c:noMultiLvlLbl val="0"/>
      </c:catAx>
      <c:valAx>
        <c:axId val="1880622576"/>
        <c:scaling>
          <c:orientation val="minMax"/>
          <c:max val="0.30000000000000004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1880605936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60" imgH="360" progId="TCLayout.ActiveDocument.1">
                  <p:embed/>
                </p:oleObj>
              </mc:Choice>
              <mc:Fallback>
                <p:oleObj name="Diapositiva think-cell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35"/>
          <p:cNvSpPr/>
          <p:nvPr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/>
          </a:p>
        </p:txBody>
      </p:sp>
      <p:sp>
        <p:nvSpPr>
          <p:cNvPr id="6" name="Shape 35"/>
          <p:cNvSpPr/>
          <p:nvPr userDrawn="1"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7999" y="529200"/>
            <a:ext cx="11587625" cy="443198"/>
          </a:xfrm>
        </p:spPr>
        <p:txBody>
          <a:bodyPr/>
          <a:lstStyle>
            <a:lvl1pPr>
              <a:lnSpc>
                <a:spcPct val="80000"/>
              </a:lnSpc>
              <a:defRPr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87999" y="999264"/>
            <a:ext cx="11588286" cy="338554"/>
          </a:xfrm>
        </p:spPr>
        <p:txBody>
          <a:bodyPr wrap="square" lIns="0" tIns="0" rIns="0" bIns="0">
            <a:spAutoFit/>
          </a:bodyPr>
          <a:lstStyle>
            <a:lvl1pPr marL="0" indent="0">
              <a:defRPr sz="2200"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err="1"/>
              <a:t>Sotto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3378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B00D30-8D76-4030-B0C4-132CE8F7C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6" progId="TCLayout.ActiveDocument.1">
                  <p:embed/>
                </p:oleObj>
              </mc:Choice>
              <mc:Fallback>
                <p:oleObj name="Diapositiva think-cell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B00D30-8D76-4030-B0C4-132CE8F7C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57137BC-5798-4C92-B200-0DDFAD94D7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557130"/>
            <a:ext cx="11588286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45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F112B2E1-D8B6-4C25-933E-93859AA9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6" progId="TCLayout.ActiveDocument.1">
                  <p:embed/>
                </p:oleObj>
              </mc:Choice>
              <mc:Fallback>
                <p:oleObj name="Diapositiva think-cell" r:id="rId4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F112B2E1-D8B6-4C25-933E-93859AA9F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ED65F44D-2103-4485-8D2A-53C100FA4F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01720" y="2752733"/>
            <a:ext cx="4941300" cy="1354217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marL="0" marR="0" lvl="0" indent="0" defTabSz="41075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1720" y="4384800"/>
            <a:ext cx="4941300" cy="3323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400" dirty="0">
                <a:solidFill>
                  <a:schemeClr val="tx1"/>
                </a:solidFill>
              </a:defRPr>
            </a:lvl1pPr>
          </a:lstStyle>
          <a:p>
            <a:pPr marL="0" lvl="0" indent="0" defTabSz="1278403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</a:pPr>
            <a:r>
              <a:rPr lang="it-IT"/>
              <a:t>Fare clic per modificare lo stile del sottotitolo dello schema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FD512D6-0BFA-49E6-8FFC-AA3AF647A7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57233" y="6376162"/>
            <a:ext cx="2030540" cy="27571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lang="en-US" sz="1600" b="1" dirty="0" smtClean="0">
                <a:solidFill>
                  <a:schemeClr val="bg1"/>
                </a:solidFill>
                <a:ea typeface="Calibri" panose="020F0502020204030204" pitchFamily="34" charset="0"/>
              </a:defRPr>
            </a:lvl1pPr>
            <a:lvl2pPr>
              <a:defRPr lang="en-US" sz="20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it-IT" dirty="0"/>
            </a:lvl5pPr>
          </a:lstStyle>
          <a:p>
            <a:pPr lvl="0" algn="r" defTabSz="410755">
              <a:lnSpc>
                <a:spcPct val="120000"/>
              </a:lnSpc>
              <a:spcBef>
                <a:spcPts val="0"/>
              </a:spcBef>
              <a:buClr>
                <a:srgbClr val="53585F"/>
              </a:buClr>
              <a:buFontTx/>
            </a:pPr>
            <a:r>
              <a:rPr lang="en-US"/>
              <a:t>Dat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54019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F97252-3ED8-4F04-888D-3DC4986911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504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F97252-3ED8-4F04-888D-3DC498691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8995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000" y="603296"/>
            <a:ext cx="10515600" cy="3693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0" lvl="0" defTabSz="1219140">
              <a:lnSpc>
                <a:spcPct val="80000"/>
              </a:lnSpc>
            </a:pPr>
            <a:r>
              <a:rPr lang="it-IT"/>
              <a:t>Fare clic per modificare lo stile del titolo dello schema</a:t>
            </a:r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6A83D7C-7FB3-44E4-A5C2-FD6CD37791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9" y="1905"/>
          <a:ext cx="2117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8" imgW="395" imgH="396" progId="TCLayout.ActiveDocument.1">
                  <p:embed/>
                </p:oleObj>
              </mc:Choice>
              <mc:Fallback>
                <p:oleObj name="Diapositiva think-cell" r:id="rId8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6A83D7C-7FB3-44E4-A5C2-FD6CD37791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905"/>
                        <a:ext cx="2117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304B33D-7172-4E57-BA5C-F9557A5AF80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211667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000" b="1" i="0" baseline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454406C-DF50-41B6-950F-1D737872C26C}"/>
              </a:ext>
            </a:extLst>
          </p:cNvPr>
          <p:cNvSpPr/>
          <p:nvPr userDrawn="1"/>
        </p:nvSpPr>
        <p:spPr>
          <a:xfrm>
            <a:off x="11911030" y="6541993"/>
            <a:ext cx="229228" cy="226022"/>
          </a:xfrm>
          <a:prstGeom prst="rect">
            <a:avLst/>
          </a:prstGeom>
          <a:ln w="3175">
            <a:miter lim="400000"/>
          </a:ln>
        </p:spPr>
        <p:txBody>
          <a:bodyPr vert="horz" wrap="none" lIns="35718" tIns="35718" rIns="35718" bIns="35718" rtlCol="0" anchor="ctr">
            <a:spAutoFit/>
          </a:bodyPr>
          <a:lstStyle/>
          <a:p>
            <a:pPr lvl="0" algn="r"/>
            <a:fld id="{B2565A34-78E8-4C99-97B1-544FB26CA18B}" type="slidenum">
              <a:rPr lang="en-US" sz="1000" b="1" smtClean="0">
                <a:solidFill>
                  <a:schemeClr val="tx1"/>
                </a:solidFill>
                <a:latin typeface="+mn-lt"/>
                <a:ea typeface="Helvetica Neue"/>
                <a:cs typeface="Arial" panose="020B0604020202020204" pitchFamily="34" charset="0"/>
              </a:rPr>
              <a:pPr lvl="0" algn="r"/>
              <a:t>‹N›</a:t>
            </a:fld>
            <a:endParaRPr lang="en-US" sz="1000" b="1">
              <a:solidFill>
                <a:schemeClr val="tx1"/>
              </a:solidFill>
              <a:latin typeface="+mn-lt"/>
              <a:ea typeface="Helvetica Neue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3145C3-3D9C-4A9F-9D38-F0A93F9976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20352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899376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altLang="zh-CN" sz="3000" b="1" i="0" u="none" strike="noStrike" kern="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  <a:sym typeface="Helvetica Light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kumimoji="0" lang="en-US" altLang="zh-CN" sz="1400" b="0" i="0" u="none" strike="noStrike" kern="1200" cap="none" spc="0" normalizeH="0" baseline="0" smtClean="0">
          <a:ln>
            <a:noFill/>
          </a:ln>
          <a:solidFill>
            <a:schemeClr val="tx1"/>
          </a:solidFill>
          <a:effectLst/>
          <a:uFillTx/>
          <a:latin typeface="Arial" panose="020B0604020202020204" pitchFamily="34" charset="0"/>
          <a:ea typeface="+mn-ea"/>
          <a:cs typeface="Arial" panose="020B0604020202020204" pitchFamily="34" charset="0"/>
          <a:sym typeface="Helvetica Light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0" lang="en-US" altLang="zh-CN" sz="1400" b="0" i="0" u="none" strike="noStrike" kern="1200" cap="none" spc="0" normalizeH="0" baseline="0" smtClean="0">
          <a:ln>
            <a:noFill/>
          </a:ln>
          <a:solidFill>
            <a:schemeClr val="tx1"/>
          </a:solidFill>
          <a:effectLst/>
          <a:uFillTx/>
          <a:latin typeface="Arial" panose="020B0604020202020204" pitchFamily="34" charset="0"/>
          <a:ea typeface="+mn-ea"/>
          <a:cs typeface="Arial" panose="020B0604020202020204" pitchFamily="34" charset="0"/>
          <a:sym typeface="Helvetica Light"/>
        </a:defRPr>
      </a:lvl2pPr>
      <a:lvl3pPr marL="447675" indent="-2698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kumimoji="0" lang="en-US" altLang="zh-CN" sz="1400" b="0" i="0" u="none" strike="noStrike" kern="1200" cap="none" spc="0" normalizeH="0" baseline="0" smtClean="0">
          <a:ln>
            <a:noFill/>
          </a:ln>
          <a:solidFill>
            <a:schemeClr val="tx1"/>
          </a:solidFill>
          <a:effectLst/>
          <a:uFillTx/>
          <a:latin typeface="Arial" panose="020B0604020202020204" pitchFamily="34" charset="0"/>
          <a:ea typeface="+mn-ea"/>
          <a:cs typeface="Arial" panose="020B0604020202020204" pitchFamily="34" charset="0"/>
          <a:sym typeface="Helvetica Light"/>
        </a:defRPr>
      </a:lvl3pPr>
      <a:lvl4pPr marL="62547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0" lang="en-US" altLang="zh-CN" sz="1400" b="0" i="0" u="none" strike="noStrike" kern="1200" cap="none" spc="0" normalizeH="0" baseline="0" smtClean="0">
          <a:ln>
            <a:noFill/>
          </a:ln>
          <a:solidFill>
            <a:schemeClr val="tx1"/>
          </a:solidFill>
          <a:effectLst/>
          <a:uFillTx/>
          <a:latin typeface="Arial" panose="020B0604020202020204" pitchFamily="34" charset="0"/>
          <a:ea typeface="+mn-ea"/>
          <a:cs typeface="Arial" panose="020B0604020202020204" pitchFamily="34" charset="0"/>
          <a:sym typeface="Helvetica Light"/>
        </a:defRPr>
      </a:lvl4pPr>
      <a:lvl5pPr marL="895350" indent="-2698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kumimoji="0" lang="en-US" altLang="zh-CN" sz="1400" b="0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FillTx/>
          <a:latin typeface="Arial" panose="020B0604020202020204" pitchFamily="34" charset="0"/>
          <a:ea typeface="+mn-ea"/>
          <a:cs typeface="Arial" panose="020B0604020202020204" pitchFamily="34" charset="0"/>
          <a:sym typeface="Helvetica Light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>
            <a:extLst>
              <a:ext uri="{FF2B5EF4-FFF2-40B4-BE49-F238E27FC236}">
                <a16:creationId xmlns:a16="http://schemas.microsoft.com/office/drawing/2014/main" id="{39D3C7B1-F78C-40E9-B968-4E12EBEA7F4C}"/>
              </a:ext>
            </a:extLst>
          </p:cNvPr>
          <p:cNvSpPr/>
          <p:nvPr/>
        </p:nvSpPr>
        <p:spPr bwMode="gray">
          <a:xfrm>
            <a:off x="2554979" y="1829900"/>
            <a:ext cx="959776" cy="256234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570F9741-1591-437C-B8AB-EB3BAB45CC61}"/>
              </a:ext>
            </a:extLst>
          </p:cNvPr>
          <p:cNvGraphicFramePr/>
          <p:nvPr/>
        </p:nvGraphicFramePr>
        <p:xfrm>
          <a:off x="337162" y="2254401"/>
          <a:ext cx="11538458" cy="192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999" y="591915"/>
            <a:ext cx="11587625" cy="369332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Cyber Incidents Worldw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87999" y="999264"/>
            <a:ext cx="11587621" cy="304699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untless Cyber Incidents affects organizations and TMT sector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01800" y="6143894"/>
            <a:ext cx="11588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 Light" panose="020F0302020204030204" pitchFamily="34" charset="0"/>
              </a:rPr>
              <a:t>Sources: All data are the result of analysis, based on the following sources: IBM X-Force Threat Intelligence Index, 2021; ENISA Annual Analysis Report, Telecom Services Security Incidents 2019, July 2020; GSMA, Mobile Telecommunications Security Threat Landscape, January 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 Light" panose="020F0302020204030204" pitchFamily="34" charset="0"/>
              </a:rPr>
              <a:t>;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 Light" panose="020F0302020204030204" pitchFamily="34" charset="0"/>
              </a:rPr>
              <a:t>IBM and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 Light" panose="020F0302020204030204" pitchFamily="34" charset="0"/>
              </a:rPr>
              <a:t>Ponemo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 Light" panose="020F0302020204030204" pitchFamily="34" charset="0"/>
              </a:rPr>
              <a:t> Institute, Cost of a Data Breach Report, 2021;Federal Bureau of Investigation, Internet Crime Report 2021, March 2022;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D7993617-41CF-42E1-BA4C-4CA7316FF700}"/>
              </a:ext>
            </a:extLst>
          </p:cNvPr>
          <p:cNvGraphicFramePr>
            <a:graphicFrameLocks noGrp="1"/>
          </p:cNvGraphicFramePr>
          <p:nvPr/>
        </p:nvGraphicFramePr>
        <p:xfrm>
          <a:off x="471429" y="4071709"/>
          <a:ext cx="1128975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6341">
                  <a:extLst>
                    <a:ext uri="{9D8B030D-6E8A-4147-A177-3AD203B41FA5}">
                      <a16:colId xmlns:a16="http://schemas.microsoft.com/office/drawing/2014/main" val="4168765899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939424292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758992680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3543057707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3577695941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4159065343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3066473373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2001563145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676862663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4279526547"/>
                    </a:ext>
                  </a:extLst>
                </a:gridCol>
                <a:gridCol w="1026341">
                  <a:extLst>
                    <a:ext uri="{9D8B030D-6E8A-4147-A177-3AD203B41FA5}">
                      <a16:colId xmlns:a16="http://schemas.microsoft.com/office/drawing/2014/main" val="21923756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Professional Services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Government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accent3"/>
                          </a:solidFill>
                          <a:effectLst/>
                          <a:latin typeface="+mj-lt"/>
                        </a:rPr>
                        <a:t>TMT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Finance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Manufacturing</a:t>
                      </a:r>
                    </a:p>
                  </a:txBody>
                  <a:tcPr marL="0" marR="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Education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Healthcare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Retail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Entertainment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Utilities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Other industries</a:t>
                      </a:r>
                    </a:p>
                  </a:txBody>
                  <a:tcPr marL="6350" marR="635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75500"/>
                  </a:ext>
                </a:extLst>
              </a:tr>
            </a:tbl>
          </a:graphicData>
        </a:graphic>
      </p:graphicFrame>
      <p:grpSp>
        <p:nvGrpSpPr>
          <p:cNvPr id="78" name="Group 77">
            <a:extLst>
              <a:ext uri="{FF2B5EF4-FFF2-40B4-BE49-F238E27FC236}">
                <a16:creationId xmlns:a16="http://schemas.microsoft.com/office/drawing/2014/main" id="{8708B0B0-45AF-4D0E-BE03-0D126B8A30D9}"/>
              </a:ext>
            </a:extLst>
          </p:cNvPr>
          <p:cNvGrpSpPr/>
          <p:nvPr/>
        </p:nvGrpSpPr>
        <p:grpSpPr>
          <a:xfrm>
            <a:off x="7961515" y="1971778"/>
            <a:ext cx="360000" cy="1811435"/>
            <a:chOff x="7963571" y="1814415"/>
            <a:chExt cx="360000" cy="1811435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6B6205D-6191-48E6-B28D-F4F66C74A68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143571" y="2149124"/>
              <a:ext cx="0" cy="147672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Freeform 1000">
              <a:extLst>
                <a:ext uri="{FF2B5EF4-FFF2-40B4-BE49-F238E27FC236}">
                  <a16:creationId xmlns:a16="http://schemas.microsoft.com/office/drawing/2014/main" id="{BAEC4B8C-44DC-4A62-97C6-38B6CB8C04A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963571" y="1814415"/>
              <a:ext cx="360000" cy="360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405 h 512"/>
                <a:gd name="T12" fmla="*/ 362 w 512"/>
                <a:gd name="T13" fmla="*/ 416 h 512"/>
                <a:gd name="T14" fmla="*/ 149 w 512"/>
                <a:gd name="T15" fmla="*/ 416 h 512"/>
                <a:gd name="T16" fmla="*/ 138 w 512"/>
                <a:gd name="T17" fmla="*/ 405 h 512"/>
                <a:gd name="T18" fmla="*/ 138 w 512"/>
                <a:gd name="T19" fmla="*/ 181 h 512"/>
                <a:gd name="T20" fmla="*/ 149 w 512"/>
                <a:gd name="T21" fmla="*/ 170 h 512"/>
                <a:gd name="T22" fmla="*/ 202 w 512"/>
                <a:gd name="T23" fmla="*/ 170 h 512"/>
                <a:gd name="T24" fmla="*/ 202 w 512"/>
                <a:gd name="T25" fmla="*/ 149 h 512"/>
                <a:gd name="T26" fmla="*/ 256 w 512"/>
                <a:gd name="T27" fmla="*/ 96 h 512"/>
                <a:gd name="T28" fmla="*/ 309 w 512"/>
                <a:gd name="T29" fmla="*/ 149 h 512"/>
                <a:gd name="T30" fmla="*/ 309 w 512"/>
                <a:gd name="T31" fmla="*/ 170 h 512"/>
                <a:gd name="T32" fmla="*/ 362 w 512"/>
                <a:gd name="T33" fmla="*/ 170 h 512"/>
                <a:gd name="T34" fmla="*/ 373 w 512"/>
                <a:gd name="T35" fmla="*/ 181 h 512"/>
                <a:gd name="T36" fmla="*/ 373 w 512"/>
                <a:gd name="T37" fmla="*/ 405 h 512"/>
                <a:gd name="T38" fmla="*/ 288 w 512"/>
                <a:gd name="T39" fmla="*/ 170 h 512"/>
                <a:gd name="T40" fmla="*/ 224 w 512"/>
                <a:gd name="T41" fmla="*/ 170 h 512"/>
                <a:gd name="T42" fmla="*/ 224 w 512"/>
                <a:gd name="T43" fmla="*/ 149 h 512"/>
                <a:gd name="T44" fmla="*/ 256 w 512"/>
                <a:gd name="T45" fmla="*/ 117 h 512"/>
                <a:gd name="T46" fmla="*/ 288 w 512"/>
                <a:gd name="T47" fmla="*/ 149 h 512"/>
                <a:gd name="T48" fmla="*/ 288 w 512"/>
                <a:gd name="T49" fmla="*/ 170 h 512"/>
                <a:gd name="T50" fmla="*/ 309 w 512"/>
                <a:gd name="T51" fmla="*/ 192 h 512"/>
                <a:gd name="T52" fmla="*/ 352 w 512"/>
                <a:gd name="T53" fmla="*/ 192 h 512"/>
                <a:gd name="T54" fmla="*/ 352 w 512"/>
                <a:gd name="T55" fmla="*/ 394 h 512"/>
                <a:gd name="T56" fmla="*/ 160 w 512"/>
                <a:gd name="T57" fmla="*/ 394 h 512"/>
                <a:gd name="T58" fmla="*/ 160 w 512"/>
                <a:gd name="T59" fmla="*/ 192 h 512"/>
                <a:gd name="T60" fmla="*/ 202 w 512"/>
                <a:gd name="T61" fmla="*/ 192 h 512"/>
                <a:gd name="T62" fmla="*/ 202 w 512"/>
                <a:gd name="T63" fmla="*/ 213 h 512"/>
                <a:gd name="T64" fmla="*/ 213 w 512"/>
                <a:gd name="T65" fmla="*/ 224 h 512"/>
                <a:gd name="T66" fmla="*/ 224 w 512"/>
                <a:gd name="T67" fmla="*/ 213 h 512"/>
                <a:gd name="T68" fmla="*/ 224 w 512"/>
                <a:gd name="T69" fmla="*/ 192 h 512"/>
                <a:gd name="T70" fmla="*/ 288 w 512"/>
                <a:gd name="T71" fmla="*/ 192 h 512"/>
                <a:gd name="T72" fmla="*/ 288 w 512"/>
                <a:gd name="T73" fmla="*/ 213 h 512"/>
                <a:gd name="T74" fmla="*/ 298 w 512"/>
                <a:gd name="T75" fmla="*/ 224 h 512"/>
                <a:gd name="T76" fmla="*/ 309 w 512"/>
                <a:gd name="T77" fmla="*/ 213 h 512"/>
                <a:gd name="T78" fmla="*/ 309 w 512"/>
                <a:gd name="T79" fmla="*/ 19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81"/>
                    <a:pt x="138" y="181"/>
                    <a:pt x="138" y="181"/>
                  </a:cubicBezTo>
                  <a:cubicBezTo>
                    <a:pt x="138" y="175"/>
                    <a:pt x="143" y="170"/>
                    <a:pt x="149" y="170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2" y="149"/>
                    <a:pt x="202" y="149"/>
                    <a:pt x="202" y="149"/>
                  </a:cubicBezTo>
                  <a:cubicBezTo>
                    <a:pt x="202" y="120"/>
                    <a:pt x="226" y="96"/>
                    <a:pt x="256" y="96"/>
                  </a:cubicBezTo>
                  <a:cubicBezTo>
                    <a:pt x="285" y="96"/>
                    <a:pt x="309" y="120"/>
                    <a:pt x="309" y="149"/>
                  </a:cubicBezTo>
                  <a:cubicBezTo>
                    <a:pt x="309" y="170"/>
                    <a:pt x="309" y="170"/>
                    <a:pt x="309" y="170"/>
                  </a:cubicBezTo>
                  <a:cubicBezTo>
                    <a:pt x="362" y="170"/>
                    <a:pt x="362" y="170"/>
                    <a:pt x="362" y="170"/>
                  </a:cubicBezTo>
                  <a:cubicBezTo>
                    <a:pt x="368" y="170"/>
                    <a:pt x="373" y="175"/>
                    <a:pt x="373" y="181"/>
                  </a:cubicBezTo>
                  <a:lnTo>
                    <a:pt x="373" y="405"/>
                  </a:lnTo>
                  <a:close/>
                  <a:moveTo>
                    <a:pt x="288" y="170"/>
                  </a:moveTo>
                  <a:cubicBezTo>
                    <a:pt x="224" y="170"/>
                    <a:pt x="224" y="170"/>
                    <a:pt x="224" y="170"/>
                  </a:cubicBezTo>
                  <a:cubicBezTo>
                    <a:pt x="224" y="149"/>
                    <a:pt x="224" y="149"/>
                    <a:pt x="224" y="149"/>
                  </a:cubicBezTo>
                  <a:cubicBezTo>
                    <a:pt x="224" y="131"/>
                    <a:pt x="238" y="117"/>
                    <a:pt x="256" y="117"/>
                  </a:cubicBezTo>
                  <a:cubicBezTo>
                    <a:pt x="273" y="117"/>
                    <a:pt x="288" y="131"/>
                    <a:pt x="288" y="149"/>
                  </a:cubicBezTo>
                  <a:lnTo>
                    <a:pt x="288" y="170"/>
                  </a:lnTo>
                  <a:close/>
                  <a:moveTo>
                    <a:pt x="309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4"/>
                    <a:pt x="352" y="394"/>
                    <a:pt x="352" y="394"/>
                  </a:cubicBezTo>
                  <a:cubicBezTo>
                    <a:pt x="160" y="394"/>
                    <a:pt x="160" y="394"/>
                    <a:pt x="160" y="394"/>
                  </a:cubicBezTo>
                  <a:cubicBezTo>
                    <a:pt x="160" y="192"/>
                    <a:pt x="160" y="192"/>
                    <a:pt x="160" y="192"/>
                  </a:cubicBezTo>
                  <a:cubicBezTo>
                    <a:pt x="202" y="192"/>
                    <a:pt x="202" y="192"/>
                    <a:pt x="202" y="192"/>
                  </a:cubicBezTo>
                  <a:cubicBezTo>
                    <a:pt x="202" y="213"/>
                    <a:pt x="202" y="213"/>
                    <a:pt x="202" y="213"/>
                  </a:cubicBezTo>
                  <a:cubicBezTo>
                    <a:pt x="202" y="219"/>
                    <a:pt x="207" y="224"/>
                    <a:pt x="213" y="224"/>
                  </a:cubicBezTo>
                  <a:cubicBezTo>
                    <a:pt x="219" y="224"/>
                    <a:pt x="224" y="219"/>
                    <a:pt x="224" y="213"/>
                  </a:cubicBezTo>
                  <a:cubicBezTo>
                    <a:pt x="224" y="192"/>
                    <a:pt x="224" y="192"/>
                    <a:pt x="224" y="192"/>
                  </a:cubicBezTo>
                  <a:cubicBezTo>
                    <a:pt x="288" y="192"/>
                    <a:pt x="288" y="192"/>
                    <a:pt x="288" y="192"/>
                  </a:cubicBezTo>
                  <a:cubicBezTo>
                    <a:pt x="288" y="213"/>
                    <a:pt x="288" y="213"/>
                    <a:pt x="288" y="213"/>
                  </a:cubicBezTo>
                  <a:cubicBezTo>
                    <a:pt x="288" y="219"/>
                    <a:pt x="292" y="224"/>
                    <a:pt x="298" y="224"/>
                  </a:cubicBezTo>
                  <a:cubicBezTo>
                    <a:pt x="304" y="224"/>
                    <a:pt x="309" y="219"/>
                    <a:pt x="309" y="213"/>
                  </a:cubicBezTo>
                  <a:lnTo>
                    <a:pt x="309" y="192"/>
                  </a:ln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22FA293-B3AD-4171-AABB-AF000912BAE2}"/>
              </a:ext>
            </a:extLst>
          </p:cNvPr>
          <p:cNvGrpSpPr/>
          <p:nvPr/>
        </p:nvGrpSpPr>
        <p:grpSpPr>
          <a:xfrm>
            <a:off x="6938758" y="1971778"/>
            <a:ext cx="360000" cy="1735235"/>
            <a:chOff x="6941500" y="1814415"/>
            <a:chExt cx="360000" cy="1735235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CFE31CD4-27A0-428B-8C4D-0421BCFE707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121500" y="2149124"/>
              <a:ext cx="0" cy="140052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Freeform 828">
              <a:extLst>
                <a:ext uri="{FF2B5EF4-FFF2-40B4-BE49-F238E27FC236}">
                  <a16:creationId xmlns:a16="http://schemas.microsoft.com/office/drawing/2014/main" id="{97873222-84F5-4AB1-9861-1D0E33FC75F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941500" y="1814415"/>
              <a:ext cx="360000" cy="360000"/>
            </a:xfrm>
            <a:custGeom>
              <a:avLst/>
              <a:gdLst>
                <a:gd name="T0" fmla="*/ 394 w 512"/>
                <a:gd name="T1" fmla="*/ 352 h 512"/>
                <a:gd name="T2" fmla="*/ 117 w 512"/>
                <a:gd name="T3" fmla="*/ 160 h 512"/>
                <a:gd name="T4" fmla="*/ 181 w 512"/>
                <a:gd name="T5" fmla="*/ 234 h 512"/>
                <a:gd name="T6" fmla="*/ 224 w 512"/>
                <a:gd name="T7" fmla="*/ 224 h 512"/>
                <a:gd name="T8" fmla="*/ 234 w 512"/>
                <a:gd name="T9" fmla="*/ 181 h 512"/>
                <a:gd name="T10" fmla="*/ 288 w 512"/>
                <a:gd name="T11" fmla="*/ 192 h 512"/>
                <a:gd name="T12" fmla="*/ 320 w 512"/>
                <a:gd name="T13" fmla="*/ 224 h 512"/>
                <a:gd name="T14" fmla="*/ 330 w 512"/>
                <a:gd name="T15" fmla="*/ 277 h 512"/>
                <a:gd name="T16" fmla="*/ 288 w 512"/>
                <a:gd name="T17" fmla="*/ 288 h 512"/>
                <a:gd name="T18" fmla="*/ 277 w 512"/>
                <a:gd name="T19" fmla="*/ 330 h 512"/>
                <a:gd name="T20" fmla="*/ 224 w 512"/>
                <a:gd name="T21" fmla="*/ 320 h 512"/>
                <a:gd name="T22" fmla="*/ 192 w 512"/>
                <a:gd name="T23" fmla="*/ 288 h 512"/>
                <a:gd name="T24" fmla="*/ 181 w 512"/>
                <a:gd name="T25" fmla="*/ 234 h 512"/>
                <a:gd name="T26" fmla="*/ 224 w 512"/>
                <a:gd name="T27" fmla="*/ 138 h 512"/>
                <a:gd name="T28" fmla="*/ 288 w 512"/>
                <a:gd name="T29" fmla="*/ 117 h 512"/>
                <a:gd name="T30" fmla="*/ 256 w 512"/>
                <a:gd name="T31" fmla="*/ 0 h 512"/>
                <a:gd name="T32" fmla="*/ 256 w 512"/>
                <a:gd name="T33" fmla="*/ 512 h 512"/>
                <a:gd name="T34" fmla="*/ 256 w 512"/>
                <a:gd name="T35" fmla="*/ 0 h 512"/>
                <a:gd name="T36" fmla="*/ 405 w 512"/>
                <a:gd name="T37" fmla="*/ 373 h 512"/>
                <a:gd name="T38" fmla="*/ 96 w 512"/>
                <a:gd name="T39" fmla="*/ 362 h 512"/>
                <a:gd name="T40" fmla="*/ 106 w 512"/>
                <a:gd name="T41" fmla="*/ 138 h 512"/>
                <a:gd name="T42" fmla="*/ 202 w 512"/>
                <a:gd name="T43" fmla="*/ 106 h 512"/>
                <a:gd name="T44" fmla="*/ 298 w 512"/>
                <a:gd name="T45" fmla="*/ 96 h 512"/>
                <a:gd name="T46" fmla="*/ 309 w 512"/>
                <a:gd name="T47" fmla="*/ 138 h 512"/>
                <a:gd name="T48" fmla="*/ 416 w 512"/>
                <a:gd name="T49" fmla="*/ 149 h 512"/>
                <a:gd name="T50" fmla="*/ 234 w 512"/>
                <a:gd name="T51" fmla="*/ 266 h 512"/>
                <a:gd name="T52" fmla="*/ 202 w 512"/>
                <a:gd name="T53" fmla="*/ 245 h 512"/>
                <a:gd name="T54" fmla="*/ 245 w 512"/>
                <a:gd name="T55" fmla="*/ 234 h 512"/>
                <a:gd name="T56" fmla="*/ 266 w 512"/>
                <a:gd name="T57" fmla="*/ 202 h 512"/>
                <a:gd name="T58" fmla="*/ 277 w 512"/>
                <a:gd name="T59" fmla="*/ 245 h 512"/>
                <a:gd name="T60" fmla="*/ 309 w 512"/>
                <a:gd name="T61" fmla="*/ 266 h 512"/>
                <a:gd name="T62" fmla="*/ 266 w 512"/>
                <a:gd name="T63" fmla="*/ 277 h 512"/>
                <a:gd name="T64" fmla="*/ 245 w 512"/>
                <a:gd name="T65" fmla="*/ 309 h 512"/>
                <a:gd name="T66" fmla="*/ 234 w 512"/>
                <a:gd name="T67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12" h="512">
                  <a:moveTo>
                    <a:pt x="117" y="352"/>
                  </a:moveTo>
                  <a:cubicBezTo>
                    <a:pt x="394" y="352"/>
                    <a:pt x="394" y="352"/>
                    <a:pt x="394" y="352"/>
                  </a:cubicBezTo>
                  <a:cubicBezTo>
                    <a:pt x="394" y="160"/>
                    <a:pt x="394" y="160"/>
                    <a:pt x="394" y="160"/>
                  </a:cubicBezTo>
                  <a:cubicBezTo>
                    <a:pt x="117" y="160"/>
                    <a:pt x="117" y="160"/>
                    <a:pt x="117" y="160"/>
                  </a:cubicBezTo>
                  <a:lnTo>
                    <a:pt x="117" y="352"/>
                  </a:lnTo>
                  <a:close/>
                  <a:moveTo>
                    <a:pt x="181" y="234"/>
                  </a:moveTo>
                  <a:cubicBezTo>
                    <a:pt x="181" y="228"/>
                    <a:pt x="186" y="224"/>
                    <a:pt x="192" y="224"/>
                  </a:cubicBezTo>
                  <a:cubicBezTo>
                    <a:pt x="224" y="224"/>
                    <a:pt x="224" y="224"/>
                    <a:pt x="224" y="224"/>
                  </a:cubicBezTo>
                  <a:cubicBezTo>
                    <a:pt x="224" y="192"/>
                    <a:pt x="224" y="192"/>
                    <a:pt x="224" y="192"/>
                  </a:cubicBezTo>
                  <a:cubicBezTo>
                    <a:pt x="224" y="186"/>
                    <a:pt x="228" y="181"/>
                    <a:pt x="234" y="181"/>
                  </a:cubicBezTo>
                  <a:cubicBezTo>
                    <a:pt x="277" y="181"/>
                    <a:pt x="277" y="181"/>
                    <a:pt x="277" y="181"/>
                  </a:cubicBezTo>
                  <a:cubicBezTo>
                    <a:pt x="283" y="181"/>
                    <a:pt x="288" y="186"/>
                    <a:pt x="288" y="192"/>
                  </a:cubicBezTo>
                  <a:cubicBezTo>
                    <a:pt x="288" y="224"/>
                    <a:pt x="288" y="224"/>
                    <a:pt x="288" y="224"/>
                  </a:cubicBezTo>
                  <a:cubicBezTo>
                    <a:pt x="320" y="224"/>
                    <a:pt x="320" y="224"/>
                    <a:pt x="320" y="224"/>
                  </a:cubicBezTo>
                  <a:cubicBezTo>
                    <a:pt x="326" y="224"/>
                    <a:pt x="330" y="228"/>
                    <a:pt x="330" y="234"/>
                  </a:cubicBezTo>
                  <a:cubicBezTo>
                    <a:pt x="330" y="277"/>
                    <a:pt x="330" y="277"/>
                    <a:pt x="330" y="277"/>
                  </a:cubicBezTo>
                  <a:cubicBezTo>
                    <a:pt x="330" y="283"/>
                    <a:pt x="326" y="288"/>
                    <a:pt x="320" y="288"/>
                  </a:cubicBezTo>
                  <a:cubicBezTo>
                    <a:pt x="288" y="288"/>
                    <a:pt x="288" y="288"/>
                    <a:pt x="288" y="288"/>
                  </a:cubicBezTo>
                  <a:cubicBezTo>
                    <a:pt x="288" y="320"/>
                    <a:pt x="288" y="320"/>
                    <a:pt x="288" y="320"/>
                  </a:cubicBezTo>
                  <a:cubicBezTo>
                    <a:pt x="288" y="326"/>
                    <a:pt x="283" y="330"/>
                    <a:pt x="277" y="330"/>
                  </a:cubicBezTo>
                  <a:cubicBezTo>
                    <a:pt x="234" y="330"/>
                    <a:pt x="234" y="330"/>
                    <a:pt x="234" y="330"/>
                  </a:cubicBezTo>
                  <a:cubicBezTo>
                    <a:pt x="228" y="330"/>
                    <a:pt x="224" y="326"/>
                    <a:pt x="224" y="320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86" y="288"/>
                    <a:pt x="181" y="283"/>
                    <a:pt x="181" y="277"/>
                  </a:cubicBezTo>
                  <a:lnTo>
                    <a:pt x="181" y="234"/>
                  </a:lnTo>
                  <a:close/>
                  <a:moveTo>
                    <a:pt x="288" y="138"/>
                  </a:moveTo>
                  <a:cubicBezTo>
                    <a:pt x="224" y="138"/>
                    <a:pt x="224" y="138"/>
                    <a:pt x="224" y="138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88" y="117"/>
                    <a:pt x="288" y="117"/>
                    <a:pt x="288" y="117"/>
                  </a:cubicBezTo>
                  <a:lnTo>
                    <a:pt x="288" y="138"/>
                  </a:ln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62"/>
                  </a:moveTo>
                  <a:cubicBezTo>
                    <a:pt x="416" y="368"/>
                    <a:pt x="411" y="373"/>
                    <a:pt x="405" y="373"/>
                  </a:cubicBezTo>
                  <a:cubicBezTo>
                    <a:pt x="106" y="373"/>
                    <a:pt x="106" y="373"/>
                    <a:pt x="106" y="373"/>
                  </a:cubicBezTo>
                  <a:cubicBezTo>
                    <a:pt x="100" y="373"/>
                    <a:pt x="96" y="368"/>
                    <a:pt x="96" y="362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202" y="138"/>
                    <a:pt x="202" y="138"/>
                    <a:pt x="202" y="138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2" y="100"/>
                    <a:pt x="207" y="96"/>
                    <a:pt x="213" y="96"/>
                  </a:cubicBezTo>
                  <a:cubicBezTo>
                    <a:pt x="298" y="96"/>
                    <a:pt x="298" y="96"/>
                    <a:pt x="298" y="96"/>
                  </a:cubicBezTo>
                  <a:cubicBezTo>
                    <a:pt x="304" y="96"/>
                    <a:pt x="309" y="100"/>
                    <a:pt x="309" y="106"/>
                  </a:cubicBezTo>
                  <a:cubicBezTo>
                    <a:pt x="309" y="138"/>
                    <a:pt x="309" y="138"/>
                    <a:pt x="309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62"/>
                  </a:lnTo>
                  <a:close/>
                  <a:moveTo>
                    <a:pt x="234" y="266"/>
                  </a:moveTo>
                  <a:cubicBezTo>
                    <a:pt x="202" y="266"/>
                    <a:pt x="202" y="266"/>
                    <a:pt x="202" y="266"/>
                  </a:cubicBezTo>
                  <a:cubicBezTo>
                    <a:pt x="202" y="245"/>
                    <a:pt x="202" y="245"/>
                    <a:pt x="202" y="245"/>
                  </a:cubicBezTo>
                  <a:cubicBezTo>
                    <a:pt x="234" y="245"/>
                    <a:pt x="234" y="245"/>
                    <a:pt x="234" y="245"/>
                  </a:cubicBezTo>
                  <a:cubicBezTo>
                    <a:pt x="240" y="245"/>
                    <a:pt x="245" y="240"/>
                    <a:pt x="245" y="234"/>
                  </a:cubicBezTo>
                  <a:cubicBezTo>
                    <a:pt x="245" y="202"/>
                    <a:pt x="245" y="202"/>
                    <a:pt x="245" y="202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266" y="234"/>
                    <a:pt x="266" y="234"/>
                    <a:pt x="266" y="234"/>
                  </a:cubicBezTo>
                  <a:cubicBezTo>
                    <a:pt x="266" y="240"/>
                    <a:pt x="271" y="245"/>
                    <a:pt x="277" y="245"/>
                  </a:cubicBezTo>
                  <a:cubicBezTo>
                    <a:pt x="309" y="245"/>
                    <a:pt x="309" y="245"/>
                    <a:pt x="309" y="245"/>
                  </a:cubicBezTo>
                  <a:cubicBezTo>
                    <a:pt x="309" y="266"/>
                    <a:pt x="309" y="266"/>
                    <a:pt x="309" y="266"/>
                  </a:cubicBezTo>
                  <a:cubicBezTo>
                    <a:pt x="277" y="266"/>
                    <a:pt x="277" y="266"/>
                    <a:pt x="277" y="266"/>
                  </a:cubicBezTo>
                  <a:cubicBezTo>
                    <a:pt x="271" y="266"/>
                    <a:pt x="266" y="271"/>
                    <a:pt x="266" y="277"/>
                  </a:cubicBezTo>
                  <a:cubicBezTo>
                    <a:pt x="266" y="309"/>
                    <a:pt x="266" y="309"/>
                    <a:pt x="266" y="309"/>
                  </a:cubicBezTo>
                  <a:cubicBezTo>
                    <a:pt x="245" y="309"/>
                    <a:pt x="245" y="309"/>
                    <a:pt x="245" y="30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1"/>
                    <a:pt x="240" y="266"/>
                    <a:pt x="234" y="266"/>
                  </a:cubicBez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A62C8662-12FE-43F3-AA40-6C2C01F23546}"/>
              </a:ext>
            </a:extLst>
          </p:cNvPr>
          <p:cNvGrpSpPr/>
          <p:nvPr/>
        </p:nvGrpSpPr>
        <p:grpSpPr>
          <a:xfrm>
            <a:off x="5916001" y="1971778"/>
            <a:ext cx="360000" cy="1684435"/>
            <a:chOff x="5919429" y="1814415"/>
            <a:chExt cx="360000" cy="1684435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277AAABA-3EEB-495C-ABBA-AA957496155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099429" y="2149124"/>
              <a:ext cx="0" cy="134972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 927">
              <a:extLst>
                <a:ext uri="{FF2B5EF4-FFF2-40B4-BE49-F238E27FC236}">
                  <a16:creationId xmlns:a16="http://schemas.microsoft.com/office/drawing/2014/main" id="{81E03B3F-7F86-43ED-B59B-3B02AC04D4B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19429" y="1814415"/>
              <a:ext cx="360000" cy="360000"/>
              <a:chOff x="5432" y="3568"/>
              <a:chExt cx="340" cy="340"/>
            </a:xfrm>
            <a:solidFill>
              <a:srgbClr val="DCDEE0"/>
            </a:solidFill>
          </p:grpSpPr>
          <p:sp>
            <p:nvSpPr>
              <p:cNvPr id="24" name="Freeform 928">
                <a:extLst>
                  <a:ext uri="{FF2B5EF4-FFF2-40B4-BE49-F238E27FC236}">
                    <a16:creationId xmlns:a16="http://schemas.microsoft.com/office/drawing/2014/main" id="{E8181DE2-5559-45A5-A7B1-1BA8CA3CF2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2" y="3568"/>
                <a:ext cx="340" cy="340"/>
              </a:xfrm>
              <a:custGeom>
                <a:avLst/>
                <a:gdLst>
                  <a:gd name="T0" fmla="*/ 332 w 512"/>
                  <a:gd name="T1" fmla="*/ 245 h 512"/>
                  <a:gd name="T2" fmla="*/ 340 w 512"/>
                  <a:gd name="T3" fmla="*/ 305 h 512"/>
                  <a:gd name="T4" fmla="*/ 256 w 512"/>
                  <a:gd name="T5" fmla="*/ 341 h 512"/>
                  <a:gd name="T6" fmla="*/ 171 w 512"/>
                  <a:gd name="T7" fmla="*/ 306 h 512"/>
                  <a:gd name="T8" fmla="*/ 179 w 512"/>
                  <a:gd name="T9" fmla="*/ 245 h 512"/>
                  <a:gd name="T10" fmla="*/ 251 w 512"/>
                  <a:gd name="T11" fmla="*/ 276 h 512"/>
                  <a:gd name="T12" fmla="*/ 256 w 512"/>
                  <a:gd name="T13" fmla="*/ 277 h 512"/>
                  <a:gd name="T14" fmla="*/ 260 w 512"/>
                  <a:gd name="T15" fmla="*/ 276 h 512"/>
                  <a:gd name="T16" fmla="*/ 332 w 512"/>
                  <a:gd name="T17" fmla="*/ 245 h 512"/>
                  <a:gd name="T18" fmla="*/ 136 w 512"/>
                  <a:gd name="T19" fmla="*/ 203 h 512"/>
                  <a:gd name="T20" fmla="*/ 256 w 512"/>
                  <a:gd name="T21" fmla="*/ 255 h 512"/>
                  <a:gd name="T22" fmla="*/ 376 w 512"/>
                  <a:gd name="T23" fmla="*/ 203 h 512"/>
                  <a:gd name="T24" fmla="*/ 256 w 512"/>
                  <a:gd name="T25" fmla="*/ 160 h 512"/>
                  <a:gd name="T26" fmla="*/ 136 w 512"/>
                  <a:gd name="T27" fmla="*/ 203 h 512"/>
                  <a:gd name="T28" fmla="*/ 512 w 512"/>
                  <a:gd name="T29" fmla="*/ 256 h 512"/>
                  <a:gd name="T30" fmla="*/ 256 w 512"/>
                  <a:gd name="T31" fmla="*/ 512 h 512"/>
                  <a:gd name="T32" fmla="*/ 0 w 512"/>
                  <a:gd name="T33" fmla="*/ 256 h 512"/>
                  <a:gd name="T34" fmla="*/ 256 w 512"/>
                  <a:gd name="T35" fmla="*/ 0 h 512"/>
                  <a:gd name="T36" fmla="*/ 512 w 512"/>
                  <a:gd name="T37" fmla="*/ 256 h 512"/>
                  <a:gd name="T38" fmla="*/ 416 w 512"/>
                  <a:gd name="T39" fmla="*/ 202 h 512"/>
                  <a:gd name="T40" fmla="*/ 409 w 512"/>
                  <a:gd name="T41" fmla="*/ 192 h 512"/>
                  <a:gd name="T42" fmla="*/ 259 w 512"/>
                  <a:gd name="T43" fmla="*/ 139 h 512"/>
                  <a:gd name="T44" fmla="*/ 252 w 512"/>
                  <a:gd name="T45" fmla="*/ 139 h 512"/>
                  <a:gd name="T46" fmla="*/ 103 w 512"/>
                  <a:gd name="T47" fmla="*/ 192 h 512"/>
                  <a:gd name="T48" fmla="*/ 96 w 512"/>
                  <a:gd name="T49" fmla="*/ 202 h 512"/>
                  <a:gd name="T50" fmla="*/ 102 w 512"/>
                  <a:gd name="T51" fmla="*/ 212 h 512"/>
                  <a:gd name="T52" fmla="*/ 159 w 512"/>
                  <a:gd name="T53" fmla="*/ 236 h 512"/>
                  <a:gd name="T54" fmla="*/ 149 w 512"/>
                  <a:gd name="T55" fmla="*/ 308 h 512"/>
                  <a:gd name="T56" fmla="*/ 150 w 512"/>
                  <a:gd name="T57" fmla="*/ 314 h 512"/>
                  <a:gd name="T58" fmla="*/ 256 w 512"/>
                  <a:gd name="T59" fmla="*/ 362 h 512"/>
                  <a:gd name="T60" fmla="*/ 360 w 512"/>
                  <a:gd name="T61" fmla="*/ 316 h 512"/>
                  <a:gd name="T62" fmla="*/ 362 w 512"/>
                  <a:gd name="T63" fmla="*/ 308 h 512"/>
                  <a:gd name="T64" fmla="*/ 353 w 512"/>
                  <a:gd name="T65" fmla="*/ 236 h 512"/>
                  <a:gd name="T66" fmla="*/ 384 w 512"/>
                  <a:gd name="T67" fmla="*/ 223 h 512"/>
                  <a:gd name="T68" fmla="*/ 384 w 512"/>
                  <a:gd name="T69" fmla="*/ 352 h 512"/>
                  <a:gd name="T70" fmla="*/ 394 w 512"/>
                  <a:gd name="T71" fmla="*/ 362 h 512"/>
                  <a:gd name="T72" fmla="*/ 405 w 512"/>
                  <a:gd name="T73" fmla="*/ 352 h 512"/>
                  <a:gd name="T74" fmla="*/ 405 w 512"/>
                  <a:gd name="T75" fmla="*/ 214 h 512"/>
                  <a:gd name="T76" fmla="*/ 409 w 512"/>
                  <a:gd name="T77" fmla="*/ 212 h 512"/>
                  <a:gd name="T78" fmla="*/ 416 w 512"/>
                  <a:gd name="T79" fmla="*/ 202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12" h="512">
                    <a:moveTo>
                      <a:pt x="332" y="245"/>
                    </a:moveTo>
                    <a:cubicBezTo>
                      <a:pt x="340" y="305"/>
                      <a:pt x="340" y="305"/>
                      <a:pt x="340" y="305"/>
                    </a:cubicBezTo>
                    <a:cubicBezTo>
                      <a:pt x="331" y="315"/>
                      <a:pt x="299" y="341"/>
                      <a:pt x="256" y="341"/>
                    </a:cubicBezTo>
                    <a:cubicBezTo>
                      <a:pt x="201" y="341"/>
                      <a:pt x="177" y="315"/>
                      <a:pt x="171" y="306"/>
                    </a:cubicBezTo>
                    <a:cubicBezTo>
                      <a:pt x="179" y="245"/>
                      <a:pt x="179" y="245"/>
                      <a:pt x="179" y="245"/>
                    </a:cubicBezTo>
                    <a:cubicBezTo>
                      <a:pt x="251" y="276"/>
                      <a:pt x="251" y="276"/>
                      <a:pt x="251" y="276"/>
                    </a:cubicBezTo>
                    <a:cubicBezTo>
                      <a:pt x="253" y="277"/>
                      <a:pt x="254" y="277"/>
                      <a:pt x="256" y="277"/>
                    </a:cubicBezTo>
                    <a:cubicBezTo>
                      <a:pt x="257" y="277"/>
                      <a:pt x="259" y="277"/>
                      <a:pt x="260" y="276"/>
                    </a:cubicBezTo>
                    <a:lnTo>
                      <a:pt x="332" y="245"/>
                    </a:lnTo>
                    <a:close/>
                    <a:moveTo>
                      <a:pt x="136" y="203"/>
                    </a:moveTo>
                    <a:cubicBezTo>
                      <a:pt x="256" y="255"/>
                      <a:pt x="256" y="255"/>
                      <a:pt x="256" y="255"/>
                    </a:cubicBezTo>
                    <a:cubicBezTo>
                      <a:pt x="376" y="203"/>
                      <a:pt x="376" y="203"/>
                      <a:pt x="376" y="203"/>
                    </a:cubicBezTo>
                    <a:cubicBezTo>
                      <a:pt x="256" y="160"/>
                      <a:pt x="256" y="160"/>
                      <a:pt x="256" y="160"/>
                    </a:cubicBezTo>
                    <a:lnTo>
                      <a:pt x="136" y="203"/>
                    </a:ln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416" y="202"/>
                    </a:moveTo>
                    <a:cubicBezTo>
                      <a:pt x="416" y="198"/>
                      <a:pt x="413" y="194"/>
                      <a:pt x="409" y="192"/>
                    </a:cubicBezTo>
                    <a:cubicBezTo>
                      <a:pt x="259" y="139"/>
                      <a:pt x="259" y="139"/>
                      <a:pt x="259" y="139"/>
                    </a:cubicBezTo>
                    <a:cubicBezTo>
                      <a:pt x="257" y="138"/>
                      <a:pt x="254" y="138"/>
                      <a:pt x="252" y="139"/>
                    </a:cubicBezTo>
                    <a:cubicBezTo>
                      <a:pt x="103" y="192"/>
                      <a:pt x="103" y="192"/>
                      <a:pt x="103" y="192"/>
                    </a:cubicBezTo>
                    <a:cubicBezTo>
                      <a:pt x="99" y="194"/>
                      <a:pt x="96" y="198"/>
                      <a:pt x="96" y="202"/>
                    </a:cubicBezTo>
                    <a:cubicBezTo>
                      <a:pt x="96" y="206"/>
                      <a:pt x="98" y="210"/>
                      <a:pt x="102" y="212"/>
                    </a:cubicBezTo>
                    <a:cubicBezTo>
                      <a:pt x="159" y="236"/>
                      <a:pt x="159" y="236"/>
                      <a:pt x="159" y="236"/>
                    </a:cubicBezTo>
                    <a:cubicBezTo>
                      <a:pt x="149" y="308"/>
                      <a:pt x="149" y="308"/>
                      <a:pt x="149" y="308"/>
                    </a:cubicBezTo>
                    <a:cubicBezTo>
                      <a:pt x="149" y="310"/>
                      <a:pt x="149" y="312"/>
                      <a:pt x="150" y="314"/>
                    </a:cubicBezTo>
                    <a:cubicBezTo>
                      <a:pt x="152" y="316"/>
                      <a:pt x="179" y="362"/>
                      <a:pt x="256" y="362"/>
                    </a:cubicBezTo>
                    <a:cubicBezTo>
                      <a:pt x="319" y="362"/>
                      <a:pt x="358" y="318"/>
                      <a:pt x="360" y="316"/>
                    </a:cubicBezTo>
                    <a:cubicBezTo>
                      <a:pt x="362" y="314"/>
                      <a:pt x="363" y="311"/>
                      <a:pt x="362" y="308"/>
                    </a:cubicBezTo>
                    <a:cubicBezTo>
                      <a:pt x="353" y="236"/>
                      <a:pt x="353" y="236"/>
                      <a:pt x="353" y="236"/>
                    </a:cubicBezTo>
                    <a:cubicBezTo>
                      <a:pt x="384" y="223"/>
                      <a:pt x="384" y="223"/>
                      <a:pt x="384" y="223"/>
                    </a:cubicBezTo>
                    <a:cubicBezTo>
                      <a:pt x="384" y="352"/>
                      <a:pt x="384" y="352"/>
                      <a:pt x="384" y="352"/>
                    </a:cubicBezTo>
                    <a:cubicBezTo>
                      <a:pt x="384" y="358"/>
                      <a:pt x="388" y="362"/>
                      <a:pt x="394" y="362"/>
                    </a:cubicBezTo>
                    <a:cubicBezTo>
                      <a:pt x="400" y="362"/>
                      <a:pt x="405" y="358"/>
                      <a:pt x="405" y="352"/>
                    </a:cubicBezTo>
                    <a:cubicBezTo>
                      <a:pt x="405" y="214"/>
                      <a:pt x="405" y="214"/>
                      <a:pt x="405" y="214"/>
                    </a:cubicBezTo>
                    <a:cubicBezTo>
                      <a:pt x="409" y="212"/>
                      <a:pt x="409" y="212"/>
                      <a:pt x="409" y="212"/>
                    </a:cubicBezTo>
                    <a:cubicBezTo>
                      <a:pt x="413" y="210"/>
                      <a:pt x="416" y="206"/>
                      <a:pt x="416" y="20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Freeform 929">
                <a:extLst>
                  <a:ext uri="{FF2B5EF4-FFF2-40B4-BE49-F238E27FC236}">
                    <a16:creationId xmlns:a16="http://schemas.microsoft.com/office/drawing/2014/main" id="{60AE44A2-E53D-4F88-A0B9-048C02752D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2" y="3568"/>
                <a:ext cx="340" cy="340"/>
              </a:xfrm>
              <a:custGeom>
                <a:avLst/>
                <a:gdLst>
                  <a:gd name="T0" fmla="*/ 332 w 512"/>
                  <a:gd name="T1" fmla="*/ 245 h 512"/>
                  <a:gd name="T2" fmla="*/ 340 w 512"/>
                  <a:gd name="T3" fmla="*/ 305 h 512"/>
                  <a:gd name="T4" fmla="*/ 256 w 512"/>
                  <a:gd name="T5" fmla="*/ 341 h 512"/>
                  <a:gd name="T6" fmla="*/ 171 w 512"/>
                  <a:gd name="T7" fmla="*/ 306 h 512"/>
                  <a:gd name="T8" fmla="*/ 179 w 512"/>
                  <a:gd name="T9" fmla="*/ 245 h 512"/>
                  <a:gd name="T10" fmla="*/ 251 w 512"/>
                  <a:gd name="T11" fmla="*/ 276 h 512"/>
                  <a:gd name="T12" fmla="*/ 256 w 512"/>
                  <a:gd name="T13" fmla="*/ 277 h 512"/>
                  <a:gd name="T14" fmla="*/ 260 w 512"/>
                  <a:gd name="T15" fmla="*/ 276 h 512"/>
                  <a:gd name="T16" fmla="*/ 332 w 512"/>
                  <a:gd name="T17" fmla="*/ 245 h 512"/>
                  <a:gd name="T18" fmla="*/ 136 w 512"/>
                  <a:gd name="T19" fmla="*/ 203 h 512"/>
                  <a:gd name="T20" fmla="*/ 256 w 512"/>
                  <a:gd name="T21" fmla="*/ 255 h 512"/>
                  <a:gd name="T22" fmla="*/ 376 w 512"/>
                  <a:gd name="T23" fmla="*/ 203 h 512"/>
                  <a:gd name="T24" fmla="*/ 256 w 512"/>
                  <a:gd name="T25" fmla="*/ 160 h 512"/>
                  <a:gd name="T26" fmla="*/ 136 w 512"/>
                  <a:gd name="T27" fmla="*/ 203 h 512"/>
                  <a:gd name="T28" fmla="*/ 512 w 512"/>
                  <a:gd name="T29" fmla="*/ 256 h 512"/>
                  <a:gd name="T30" fmla="*/ 256 w 512"/>
                  <a:gd name="T31" fmla="*/ 512 h 512"/>
                  <a:gd name="T32" fmla="*/ 0 w 512"/>
                  <a:gd name="T33" fmla="*/ 256 h 512"/>
                  <a:gd name="T34" fmla="*/ 256 w 512"/>
                  <a:gd name="T35" fmla="*/ 0 h 512"/>
                  <a:gd name="T36" fmla="*/ 512 w 512"/>
                  <a:gd name="T37" fmla="*/ 256 h 512"/>
                  <a:gd name="T38" fmla="*/ 416 w 512"/>
                  <a:gd name="T39" fmla="*/ 202 h 512"/>
                  <a:gd name="T40" fmla="*/ 409 w 512"/>
                  <a:gd name="T41" fmla="*/ 192 h 512"/>
                  <a:gd name="T42" fmla="*/ 259 w 512"/>
                  <a:gd name="T43" fmla="*/ 139 h 512"/>
                  <a:gd name="T44" fmla="*/ 252 w 512"/>
                  <a:gd name="T45" fmla="*/ 139 h 512"/>
                  <a:gd name="T46" fmla="*/ 103 w 512"/>
                  <a:gd name="T47" fmla="*/ 192 h 512"/>
                  <a:gd name="T48" fmla="*/ 96 w 512"/>
                  <a:gd name="T49" fmla="*/ 202 h 512"/>
                  <a:gd name="T50" fmla="*/ 102 w 512"/>
                  <a:gd name="T51" fmla="*/ 212 h 512"/>
                  <a:gd name="T52" fmla="*/ 159 w 512"/>
                  <a:gd name="T53" fmla="*/ 236 h 512"/>
                  <a:gd name="T54" fmla="*/ 149 w 512"/>
                  <a:gd name="T55" fmla="*/ 308 h 512"/>
                  <a:gd name="T56" fmla="*/ 150 w 512"/>
                  <a:gd name="T57" fmla="*/ 314 h 512"/>
                  <a:gd name="T58" fmla="*/ 256 w 512"/>
                  <a:gd name="T59" fmla="*/ 362 h 512"/>
                  <a:gd name="T60" fmla="*/ 360 w 512"/>
                  <a:gd name="T61" fmla="*/ 316 h 512"/>
                  <a:gd name="T62" fmla="*/ 362 w 512"/>
                  <a:gd name="T63" fmla="*/ 308 h 512"/>
                  <a:gd name="T64" fmla="*/ 353 w 512"/>
                  <a:gd name="T65" fmla="*/ 236 h 512"/>
                  <a:gd name="T66" fmla="*/ 384 w 512"/>
                  <a:gd name="T67" fmla="*/ 223 h 512"/>
                  <a:gd name="T68" fmla="*/ 384 w 512"/>
                  <a:gd name="T69" fmla="*/ 352 h 512"/>
                  <a:gd name="T70" fmla="*/ 394 w 512"/>
                  <a:gd name="T71" fmla="*/ 362 h 512"/>
                  <a:gd name="T72" fmla="*/ 405 w 512"/>
                  <a:gd name="T73" fmla="*/ 352 h 512"/>
                  <a:gd name="T74" fmla="*/ 405 w 512"/>
                  <a:gd name="T75" fmla="*/ 214 h 512"/>
                  <a:gd name="T76" fmla="*/ 409 w 512"/>
                  <a:gd name="T77" fmla="*/ 212 h 512"/>
                  <a:gd name="T78" fmla="*/ 416 w 512"/>
                  <a:gd name="T79" fmla="*/ 202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12" h="512">
                    <a:moveTo>
                      <a:pt x="332" y="245"/>
                    </a:moveTo>
                    <a:cubicBezTo>
                      <a:pt x="340" y="305"/>
                      <a:pt x="340" y="305"/>
                      <a:pt x="340" y="305"/>
                    </a:cubicBezTo>
                    <a:cubicBezTo>
                      <a:pt x="331" y="315"/>
                      <a:pt x="299" y="341"/>
                      <a:pt x="256" y="341"/>
                    </a:cubicBezTo>
                    <a:cubicBezTo>
                      <a:pt x="201" y="341"/>
                      <a:pt x="177" y="315"/>
                      <a:pt x="171" y="306"/>
                    </a:cubicBezTo>
                    <a:cubicBezTo>
                      <a:pt x="179" y="245"/>
                      <a:pt x="179" y="245"/>
                      <a:pt x="179" y="245"/>
                    </a:cubicBezTo>
                    <a:cubicBezTo>
                      <a:pt x="251" y="276"/>
                      <a:pt x="251" y="276"/>
                      <a:pt x="251" y="276"/>
                    </a:cubicBezTo>
                    <a:cubicBezTo>
                      <a:pt x="253" y="277"/>
                      <a:pt x="254" y="277"/>
                      <a:pt x="256" y="277"/>
                    </a:cubicBezTo>
                    <a:cubicBezTo>
                      <a:pt x="257" y="277"/>
                      <a:pt x="259" y="277"/>
                      <a:pt x="260" y="276"/>
                    </a:cubicBezTo>
                    <a:lnTo>
                      <a:pt x="332" y="245"/>
                    </a:lnTo>
                    <a:close/>
                    <a:moveTo>
                      <a:pt x="136" y="203"/>
                    </a:moveTo>
                    <a:cubicBezTo>
                      <a:pt x="256" y="255"/>
                      <a:pt x="256" y="255"/>
                      <a:pt x="256" y="255"/>
                    </a:cubicBezTo>
                    <a:cubicBezTo>
                      <a:pt x="376" y="203"/>
                      <a:pt x="376" y="203"/>
                      <a:pt x="376" y="203"/>
                    </a:cubicBezTo>
                    <a:cubicBezTo>
                      <a:pt x="256" y="160"/>
                      <a:pt x="256" y="160"/>
                      <a:pt x="256" y="160"/>
                    </a:cubicBezTo>
                    <a:lnTo>
                      <a:pt x="136" y="203"/>
                    </a:ln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416" y="202"/>
                    </a:moveTo>
                    <a:cubicBezTo>
                      <a:pt x="416" y="198"/>
                      <a:pt x="413" y="194"/>
                      <a:pt x="409" y="192"/>
                    </a:cubicBezTo>
                    <a:cubicBezTo>
                      <a:pt x="259" y="139"/>
                      <a:pt x="259" y="139"/>
                      <a:pt x="259" y="139"/>
                    </a:cubicBezTo>
                    <a:cubicBezTo>
                      <a:pt x="257" y="138"/>
                      <a:pt x="254" y="138"/>
                      <a:pt x="252" y="139"/>
                    </a:cubicBezTo>
                    <a:cubicBezTo>
                      <a:pt x="103" y="192"/>
                      <a:pt x="103" y="192"/>
                      <a:pt x="103" y="192"/>
                    </a:cubicBezTo>
                    <a:cubicBezTo>
                      <a:pt x="99" y="194"/>
                      <a:pt x="96" y="198"/>
                      <a:pt x="96" y="202"/>
                    </a:cubicBezTo>
                    <a:cubicBezTo>
                      <a:pt x="96" y="206"/>
                      <a:pt x="98" y="210"/>
                      <a:pt x="102" y="212"/>
                    </a:cubicBezTo>
                    <a:cubicBezTo>
                      <a:pt x="159" y="236"/>
                      <a:pt x="159" y="236"/>
                      <a:pt x="159" y="236"/>
                    </a:cubicBezTo>
                    <a:cubicBezTo>
                      <a:pt x="149" y="308"/>
                      <a:pt x="149" y="308"/>
                      <a:pt x="149" y="308"/>
                    </a:cubicBezTo>
                    <a:cubicBezTo>
                      <a:pt x="149" y="310"/>
                      <a:pt x="149" y="312"/>
                      <a:pt x="150" y="314"/>
                    </a:cubicBezTo>
                    <a:cubicBezTo>
                      <a:pt x="152" y="316"/>
                      <a:pt x="179" y="362"/>
                      <a:pt x="256" y="362"/>
                    </a:cubicBezTo>
                    <a:cubicBezTo>
                      <a:pt x="319" y="362"/>
                      <a:pt x="358" y="318"/>
                      <a:pt x="360" y="316"/>
                    </a:cubicBezTo>
                    <a:cubicBezTo>
                      <a:pt x="362" y="314"/>
                      <a:pt x="363" y="311"/>
                      <a:pt x="362" y="308"/>
                    </a:cubicBezTo>
                    <a:cubicBezTo>
                      <a:pt x="353" y="236"/>
                      <a:pt x="353" y="236"/>
                      <a:pt x="353" y="236"/>
                    </a:cubicBezTo>
                    <a:cubicBezTo>
                      <a:pt x="384" y="223"/>
                      <a:pt x="384" y="223"/>
                      <a:pt x="384" y="223"/>
                    </a:cubicBezTo>
                    <a:cubicBezTo>
                      <a:pt x="384" y="352"/>
                      <a:pt x="384" y="352"/>
                      <a:pt x="384" y="352"/>
                    </a:cubicBezTo>
                    <a:cubicBezTo>
                      <a:pt x="384" y="358"/>
                      <a:pt x="388" y="362"/>
                      <a:pt x="394" y="362"/>
                    </a:cubicBezTo>
                    <a:cubicBezTo>
                      <a:pt x="400" y="362"/>
                      <a:pt x="405" y="358"/>
                      <a:pt x="405" y="352"/>
                    </a:cubicBezTo>
                    <a:cubicBezTo>
                      <a:pt x="405" y="214"/>
                      <a:pt x="405" y="214"/>
                      <a:pt x="405" y="214"/>
                    </a:cubicBezTo>
                    <a:cubicBezTo>
                      <a:pt x="409" y="212"/>
                      <a:pt x="409" y="212"/>
                      <a:pt x="409" y="212"/>
                    </a:cubicBezTo>
                    <a:cubicBezTo>
                      <a:pt x="413" y="210"/>
                      <a:pt x="416" y="206"/>
                      <a:pt x="416" y="20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3445B71-C517-4BDE-8F85-46838CA713D8}"/>
              </a:ext>
            </a:extLst>
          </p:cNvPr>
          <p:cNvGrpSpPr/>
          <p:nvPr/>
        </p:nvGrpSpPr>
        <p:grpSpPr>
          <a:xfrm>
            <a:off x="4893244" y="1971778"/>
            <a:ext cx="360000" cy="1643795"/>
            <a:chOff x="4897358" y="1814415"/>
            <a:chExt cx="360000" cy="1643795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34C7D8E5-5540-4D28-B0AC-A83B35DA488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77358" y="2149124"/>
              <a:ext cx="0" cy="130908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reeform 105">
              <a:extLst>
                <a:ext uri="{FF2B5EF4-FFF2-40B4-BE49-F238E27FC236}">
                  <a16:creationId xmlns:a16="http://schemas.microsoft.com/office/drawing/2014/main" id="{09FFDF9E-47DB-4E7E-924B-791F44F0463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97358" y="1814415"/>
              <a:ext cx="360000" cy="360000"/>
            </a:xfrm>
            <a:custGeom>
              <a:avLst/>
              <a:gdLst>
                <a:gd name="T0" fmla="*/ 330 w 512"/>
                <a:gd name="T1" fmla="*/ 345 h 512"/>
                <a:gd name="T2" fmla="*/ 362 w 512"/>
                <a:gd name="T3" fmla="*/ 306 h 512"/>
                <a:gd name="T4" fmla="*/ 362 w 512"/>
                <a:gd name="T5" fmla="*/ 352 h 512"/>
                <a:gd name="T6" fmla="*/ 330 w 512"/>
                <a:gd name="T7" fmla="*/ 352 h 512"/>
                <a:gd name="T8" fmla="*/ 330 w 512"/>
                <a:gd name="T9" fmla="*/ 345 h 512"/>
                <a:gd name="T10" fmla="*/ 117 w 512"/>
                <a:gd name="T11" fmla="*/ 288 h 512"/>
                <a:gd name="T12" fmla="*/ 181 w 512"/>
                <a:gd name="T13" fmla="*/ 288 h 512"/>
                <a:gd name="T14" fmla="*/ 181 w 512"/>
                <a:gd name="T15" fmla="*/ 256 h 512"/>
                <a:gd name="T16" fmla="*/ 117 w 512"/>
                <a:gd name="T17" fmla="*/ 256 h 512"/>
                <a:gd name="T18" fmla="*/ 117 w 512"/>
                <a:gd name="T19" fmla="*/ 288 h 512"/>
                <a:gd name="T20" fmla="*/ 330 w 512"/>
                <a:gd name="T21" fmla="*/ 121 h 512"/>
                <a:gd name="T22" fmla="*/ 175 w 512"/>
                <a:gd name="T23" fmla="*/ 170 h 512"/>
                <a:gd name="T24" fmla="*/ 330 w 512"/>
                <a:gd name="T25" fmla="*/ 170 h 512"/>
                <a:gd name="T26" fmla="*/ 330 w 512"/>
                <a:gd name="T27" fmla="*/ 121 h 512"/>
                <a:gd name="T28" fmla="*/ 330 w 512"/>
                <a:gd name="T29" fmla="*/ 312 h 512"/>
                <a:gd name="T30" fmla="*/ 362 w 512"/>
                <a:gd name="T31" fmla="*/ 273 h 512"/>
                <a:gd name="T32" fmla="*/ 362 w 512"/>
                <a:gd name="T33" fmla="*/ 232 h 512"/>
                <a:gd name="T34" fmla="*/ 330 w 512"/>
                <a:gd name="T35" fmla="*/ 270 h 512"/>
                <a:gd name="T36" fmla="*/ 330 w 512"/>
                <a:gd name="T37" fmla="*/ 312 h 512"/>
                <a:gd name="T38" fmla="*/ 330 w 512"/>
                <a:gd name="T39" fmla="*/ 237 h 512"/>
                <a:gd name="T40" fmla="*/ 362 w 512"/>
                <a:gd name="T41" fmla="*/ 198 h 512"/>
                <a:gd name="T42" fmla="*/ 362 w 512"/>
                <a:gd name="T43" fmla="*/ 192 h 512"/>
                <a:gd name="T44" fmla="*/ 330 w 512"/>
                <a:gd name="T45" fmla="*/ 192 h 512"/>
                <a:gd name="T46" fmla="*/ 330 w 512"/>
                <a:gd name="T47" fmla="*/ 237 h 512"/>
                <a:gd name="T48" fmla="*/ 352 w 512"/>
                <a:gd name="T49" fmla="*/ 170 h 512"/>
                <a:gd name="T50" fmla="*/ 382 w 512"/>
                <a:gd name="T51" fmla="*/ 170 h 512"/>
                <a:gd name="T52" fmla="*/ 352 w 512"/>
                <a:gd name="T53" fmla="*/ 135 h 512"/>
                <a:gd name="T54" fmla="*/ 352 w 512"/>
                <a:gd name="T55" fmla="*/ 170 h 512"/>
                <a:gd name="T56" fmla="*/ 512 w 512"/>
                <a:gd name="T57" fmla="*/ 256 h 512"/>
                <a:gd name="T58" fmla="*/ 256 w 512"/>
                <a:gd name="T59" fmla="*/ 512 h 512"/>
                <a:gd name="T60" fmla="*/ 0 w 512"/>
                <a:gd name="T61" fmla="*/ 256 h 512"/>
                <a:gd name="T62" fmla="*/ 256 w 512"/>
                <a:gd name="T63" fmla="*/ 0 h 512"/>
                <a:gd name="T64" fmla="*/ 512 w 512"/>
                <a:gd name="T65" fmla="*/ 256 h 512"/>
                <a:gd name="T66" fmla="*/ 413 w 512"/>
                <a:gd name="T67" fmla="*/ 174 h 512"/>
                <a:gd name="T68" fmla="*/ 349 w 512"/>
                <a:gd name="T69" fmla="*/ 99 h 512"/>
                <a:gd name="T70" fmla="*/ 338 w 512"/>
                <a:gd name="T71" fmla="*/ 96 h 512"/>
                <a:gd name="T72" fmla="*/ 103 w 512"/>
                <a:gd name="T73" fmla="*/ 171 h 512"/>
                <a:gd name="T74" fmla="*/ 96 w 512"/>
                <a:gd name="T75" fmla="*/ 183 h 512"/>
                <a:gd name="T76" fmla="*/ 106 w 512"/>
                <a:gd name="T77" fmla="*/ 192 h 512"/>
                <a:gd name="T78" fmla="*/ 138 w 512"/>
                <a:gd name="T79" fmla="*/ 192 h 512"/>
                <a:gd name="T80" fmla="*/ 138 w 512"/>
                <a:gd name="T81" fmla="*/ 234 h 512"/>
                <a:gd name="T82" fmla="*/ 106 w 512"/>
                <a:gd name="T83" fmla="*/ 234 h 512"/>
                <a:gd name="T84" fmla="*/ 96 w 512"/>
                <a:gd name="T85" fmla="*/ 245 h 512"/>
                <a:gd name="T86" fmla="*/ 96 w 512"/>
                <a:gd name="T87" fmla="*/ 298 h 512"/>
                <a:gd name="T88" fmla="*/ 106 w 512"/>
                <a:gd name="T89" fmla="*/ 309 h 512"/>
                <a:gd name="T90" fmla="*/ 192 w 512"/>
                <a:gd name="T91" fmla="*/ 309 h 512"/>
                <a:gd name="T92" fmla="*/ 202 w 512"/>
                <a:gd name="T93" fmla="*/ 298 h 512"/>
                <a:gd name="T94" fmla="*/ 202 w 512"/>
                <a:gd name="T95" fmla="*/ 245 h 512"/>
                <a:gd name="T96" fmla="*/ 192 w 512"/>
                <a:gd name="T97" fmla="*/ 234 h 512"/>
                <a:gd name="T98" fmla="*/ 160 w 512"/>
                <a:gd name="T99" fmla="*/ 234 h 512"/>
                <a:gd name="T100" fmla="*/ 160 w 512"/>
                <a:gd name="T101" fmla="*/ 192 h 512"/>
                <a:gd name="T102" fmla="*/ 309 w 512"/>
                <a:gd name="T103" fmla="*/ 192 h 512"/>
                <a:gd name="T104" fmla="*/ 309 w 512"/>
                <a:gd name="T105" fmla="*/ 352 h 512"/>
                <a:gd name="T106" fmla="*/ 128 w 512"/>
                <a:gd name="T107" fmla="*/ 352 h 512"/>
                <a:gd name="T108" fmla="*/ 117 w 512"/>
                <a:gd name="T109" fmla="*/ 362 h 512"/>
                <a:gd name="T110" fmla="*/ 128 w 512"/>
                <a:gd name="T111" fmla="*/ 373 h 512"/>
                <a:gd name="T112" fmla="*/ 384 w 512"/>
                <a:gd name="T113" fmla="*/ 373 h 512"/>
                <a:gd name="T114" fmla="*/ 394 w 512"/>
                <a:gd name="T115" fmla="*/ 362 h 512"/>
                <a:gd name="T116" fmla="*/ 384 w 512"/>
                <a:gd name="T117" fmla="*/ 352 h 512"/>
                <a:gd name="T118" fmla="*/ 384 w 512"/>
                <a:gd name="T119" fmla="*/ 192 h 512"/>
                <a:gd name="T120" fmla="*/ 405 w 512"/>
                <a:gd name="T121" fmla="*/ 192 h 512"/>
                <a:gd name="T122" fmla="*/ 415 w 512"/>
                <a:gd name="T123" fmla="*/ 185 h 512"/>
                <a:gd name="T124" fmla="*/ 413 w 512"/>
                <a:gd name="T125" fmla="*/ 17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2" h="512">
                  <a:moveTo>
                    <a:pt x="330" y="345"/>
                  </a:moveTo>
                  <a:cubicBezTo>
                    <a:pt x="362" y="306"/>
                    <a:pt x="362" y="306"/>
                    <a:pt x="362" y="306"/>
                  </a:cubicBezTo>
                  <a:cubicBezTo>
                    <a:pt x="362" y="352"/>
                    <a:pt x="362" y="352"/>
                    <a:pt x="362" y="352"/>
                  </a:cubicBezTo>
                  <a:cubicBezTo>
                    <a:pt x="330" y="352"/>
                    <a:pt x="330" y="352"/>
                    <a:pt x="330" y="352"/>
                  </a:cubicBezTo>
                  <a:lnTo>
                    <a:pt x="330" y="345"/>
                  </a:lnTo>
                  <a:close/>
                  <a:moveTo>
                    <a:pt x="117" y="288"/>
                  </a:moveTo>
                  <a:cubicBezTo>
                    <a:pt x="181" y="288"/>
                    <a:pt x="181" y="288"/>
                    <a:pt x="181" y="288"/>
                  </a:cubicBezTo>
                  <a:cubicBezTo>
                    <a:pt x="181" y="256"/>
                    <a:pt x="181" y="256"/>
                    <a:pt x="181" y="256"/>
                  </a:cubicBezTo>
                  <a:cubicBezTo>
                    <a:pt x="117" y="256"/>
                    <a:pt x="117" y="256"/>
                    <a:pt x="117" y="256"/>
                  </a:cubicBezTo>
                  <a:lnTo>
                    <a:pt x="117" y="288"/>
                  </a:lnTo>
                  <a:close/>
                  <a:moveTo>
                    <a:pt x="330" y="121"/>
                  </a:moveTo>
                  <a:cubicBezTo>
                    <a:pt x="175" y="170"/>
                    <a:pt x="175" y="170"/>
                    <a:pt x="175" y="170"/>
                  </a:cubicBezTo>
                  <a:cubicBezTo>
                    <a:pt x="330" y="170"/>
                    <a:pt x="330" y="170"/>
                    <a:pt x="330" y="170"/>
                  </a:cubicBezTo>
                  <a:lnTo>
                    <a:pt x="330" y="121"/>
                  </a:lnTo>
                  <a:close/>
                  <a:moveTo>
                    <a:pt x="330" y="312"/>
                  </a:moveTo>
                  <a:cubicBezTo>
                    <a:pt x="362" y="273"/>
                    <a:pt x="362" y="273"/>
                    <a:pt x="362" y="273"/>
                  </a:cubicBezTo>
                  <a:cubicBezTo>
                    <a:pt x="362" y="232"/>
                    <a:pt x="362" y="232"/>
                    <a:pt x="362" y="232"/>
                  </a:cubicBezTo>
                  <a:cubicBezTo>
                    <a:pt x="330" y="270"/>
                    <a:pt x="330" y="270"/>
                    <a:pt x="330" y="270"/>
                  </a:cubicBezTo>
                  <a:lnTo>
                    <a:pt x="330" y="312"/>
                  </a:lnTo>
                  <a:close/>
                  <a:moveTo>
                    <a:pt x="330" y="237"/>
                  </a:moveTo>
                  <a:cubicBezTo>
                    <a:pt x="362" y="198"/>
                    <a:pt x="362" y="198"/>
                    <a:pt x="362" y="198"/>
                  </a:cubicBezTo>
                  <a:cubicBezTo>
                    <a:pt x="362" y="192"/>
                    <a:pt x="362" y="192"/>
                    <a:pt x="362" y="192"/>
                  </a:cubicBezTo>
                  <a:cubicBezTo>
                    <a:pt x="330" y="192"/>
                    <a:pt x="330" y="192"/>
                    <a:pt x="330" y="192"/>
                  </a:cubicBezTo>
                  <a:lnTo>
                    <a:pt x="330" y="237"/>
                  </a:lnTo>
                  <a:close/>
                  <a:moveTo>
                    <a:pt x="352" y="170"/>
                  </a:moveTo>
                  <a:cubicBezTo>
                    <a:pt x="382" y="170"/>
                    <a:pt x="382" y="170"/>
                    <a:pt x="382" y="170"/>
                  </a:cubicBezTo>
                  <a:cubicBezTo>
                    <a:pt x="352" y="135"/>
                    <a:pt x="352" y="135"/>
                    <a:pt x="352" y="135"/>
                  </a:cubicBezTo>
                  <a:lnTo>
                    <a:pt x="352" y="170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3" y="174"/>
                  </a:moveTo>
                  <a:cubicBezTo>
                    <a:pt x="349" y="99"/>
                    <a:pt x="349" y="99"/>
                    <a:pt x="349" y="99"/>
                  </a:cubicBezTo>
                  <a:cubicBezTo>
                    <a:pt x="346" y="96"/>
                    <a:pt x="342" y="95"/>
                    <a:pt x="338" y="96"/>
                  </a:cubicBezTo>
                  <a:cubicBezTo>
                    <a:pt x="103" y="171"/>
                    <a:pt x="103" y="171"/>
                    <a:pt x="103" y="171"/>
                  </a:cubicBezTo>
                  <a:cubicBezTo>
                    <a:pt x="98" y="172"/>
                    <a:pt x="95" y="177"/>
                    <a:pt x="96" y="183"/>
                  </a:cubicBezTo>
                  <a:cubicBezTo>
                    <a:pt x="97" y="188"/>
                    <a:pt x="101" y="192"/>
                    <a:pt x="106" y="192"/>
                  </a:cubicBezTo>
                  <a:cubicBezTo>
                    <a:pt x="138" y="192"/>
                    <a:pt x="138" y="192"/>
                    <a:pt x="138" y="192"/>
                  </a:cubicBezTo>
                  <a:cubicBezTo>
                    <a:pt x="138" y="234"/>
                    <a:pt x="138" y="234"/>
                    <a:pt x="138" y="234"/>
                  </a:cubicBezTo>
                  <a:cubicBezTo>
                    <a:pt x="106" y="234"/>
                    <a:pt x="106" y="234"/>
                    <a:pt x="106" y="234"/>
                  </a:cubicBezTo>
                  <a:cubicBezTo>
                    <a:pt x="100" y="234"/>
                    <a:pt x="96" y="239"/>
                    <a:pt x="96" y="245"/>
                  </a:cubicBezTo>
                  <a:cubicBezTo>
                    <a:pt x="96" y="298"/>
                    <a:pt x="96" y="298"/>
                    <a:pt x="96" y="298"/>
                  </a:cubicBezTo>
                  <a:cubicBezTo>
                    <a:pt x="96" y="304"/>
                    <a:pt x="100" y="309"/>
                    <a:pt x="106" y="309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8" y="309"/>
                    <a:pt x="202" y="304"/>
                    <a:pt x="202" y="298"/>
                  </a:cubicBezTo>
                  <a:cubicBezTo>
                    <a:pt x="202" y="245"/>
                    <a:pt x="202" y="245"/>
                    <a:pt x="202" y="245"/>
                  </a:cubicBezTo>
                  <a:cubicBezTo>
                    <a:pt x="202" y="239"/>
                    <a:pt x="198" y="234"/>
                    <a:pt x="192" y="234"/>
                  </a:cubicBezTo>
                  <a:cubicBezTo>
                    <a:pt x="160" y="234"/>
                    <a:pt x="160" y="234"/>
                    <a:pt x="160" y="234"/>
                  </a:cubicBezTo>
                  <a:cubicBezTo>
                    <a:pt x="160" y="192"/>
                    <a:pt x="160" y="192"/>
                    <a:pt x="160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09" y="352"/>
                    <a:pt x="309" y="352"/>
                    <a:pt x="309" y="352"/>
                  </a:cubicBezTo>
                  <a:cubicBezTo>
                    <a:pt x="128" y="352"/>
                    <a:pt x="128" y="352"/>
                    <a:pt x="128" y="352"/>
                  </a:cubicBezTo>
                  <a:cubicBezTo>
                    <a:pt x="122" y="352"/>
                    <a:pt x="117" y="356"/>
                    <a:pt x="117" y="362"/>
                  </a:cubicBezTo>
                  <a:cubicBezTo>
                    <a:pt x="117" y="368"/>
                    <a:pt x="122" y="373"/>
                    <a:pt x="128" y="373"/>
                  </a:cubicBezTo>
                  <a:cubicBezTo>
                    <a:pt x="384" y="373"/>
                    <a:pt x="384" y="373"/>
                    <a:pt x="384" y="373"/>
                  </a:cubicBezTo>
                  <a:cubicBezTo>
                    <a:pt x="390" y="373"/>
                    <a:pt x="394" y="368"/>
                    <a:pt x="394" y="362"/>
                  </a:cubicBezTo>
                  <a:cubicBezTo>
                    <a:pt x="394" y="356"/>
                    <a:pt x="390" y="352"/>
                    <a:pt x="384" y="352"/>
                  </a:cubicBezTo>
                  <a:cubicBezTo>
                    <a:pt x="384" y="192"/>
                    <a:pt x="384" y="192"/>
                    <a:pt x="384" y="192"/>
                  </a:cubicBezTo>
                  <a:cubicBezTo>
                    <a:pt x="405" y="192"/>
                    <a:pt x="405" y="192"/>
                    <a:pt x="405" y="192"/>
                  </a:cubicBezTo>
                  <a:cubicBezTo>
                    <a:pt x="409" y="192"/>
                    <a:pt x="413" y="189"/>
                    <a:pt x="415" y="185"/>
                  </a:cubicBezTo>
                  <a:cubicBezTo>
                    <a:pt x="416" y="182"/>
                    <a:pt x="416" y="177"/>
                    <a:pt x="413" y="174"/>
                  </a:cubicBez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620F50E-8A2D-4C66-9D80-48839A479CB2}"/>
              </a:ext>
            </a:extLst>
          </p:cNvPr>
          <p:cNvGrpSpPr/>
          <p:nvPr/>
        </p:nvGrpSpPr>
        <p:grpSpPr>
          <a:xfrm>
            <a:off x="3870487" y="1971778"/>
            <a:ext cx="360000" cy="1547275"/>
            <a:chOff x="3875287" y="1814415"/>
            <a:chExt cx="360000" cy="1547275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CFAA3CC-A3A8-4FF0-AA7D-2BFB992EDAE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055287" y="2149124"/>
              <a:ext cx="0" cy="121256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Freeform 45">
              <a:extLst>
                <a:ext uri="{FF2B5EF4-FFF2-40B4-BE49-F238E27FC236}">
                  <a16:creationId xmlns:a16="http://schemas.microsoft.com/office/drawing/2014/main" id="{6B1EB848-CA27-4BDA-9E46-69FC71A99A6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875287" y="1814415"/>
              <a:ext cx="360000" cy="360000"/>
            </a:xfrm>
            <a:custGeom>
              <a:avLst/>
              <a:gdLst>
                <a:gd name="T0" fmla="*/ 181 w 512"/>
                <a:gd name="T1" fmla="*/ 352 h 512"/>
                <a:gd name="T2" fmla="*/ 202 w 512"/>
                <a:gd name="T3" fmla="*/ 330 h 512"/>
                <a:gd name="T4" fmla="*/ 160 w 512"/>
                <a:gd name="T5" fmla="*/ 394 h 512"/>
                <a:gd name="T6" fmla="*/ 181 w 512"/>
                <a:gd name="T7" fmla="*/ 373 h 512"/>
                <a:gd name="T8" fmla="*/ 160 w 512"/>
                <a:gd name="T9" fmla="*/ 394 h 512"/>
                <a:gd name="T10" fmla="*/ 224 w 512"/>
                <a:gd name="T11" fmla="*/ 330 h 512"/>
                <a:gd name="T12" fmla="*/ 245 w 512"/>
                <a:gd name="T13" fmla="*/ 352 h 512"/>
                <a:gd name="T14" fmla="*/ 202 w 512"/>
                <a:gd name="T15" fmla="*/ 394 h 512"/>
                <a:gd name="T16" fmla="*/ 224 w 512"/>
                <a:gd name="T17" fmla="*/ 373 h 512"/>
                <a:gd name="T18" fmla="*/ 202 w 512"/>
                <a:gd name="T19" fmla="*/ 394 h 512"/>
                <a:gd name="T20" fmla="*/ 138 w 512"/>
                <a:gd name="T21" fmla="*/ 330 h 512"/>
                <a:gd name="T22" fmla="*/ 149 w 512"/>
                <a:gd name="T23" fmla="*/ 352 h 512"/>
                <a:gd name="T24" fmla="*/ 160 w 512"/>
                <a:gd name="T25" fmla="*/ 330 h 512"/>
                <a:gd name="T26" fmla="*/ 149 w 512"/>
                <a:gd name="T27" fmla="*/ 213 h 512"/>
                <a:gd name="T28" fmla="*/ 341 w 512"/>
                <a:gd name="T29" fmla="*/ 213 h 512"/>
                <a:gd name="T30" fmla="*/ 243 w 512"/>
                <a:gd name="T31" fmla="*/ 264 h 512"/>
                <a:gd name="T32" fmla="*/ 245 w 512"/>
                <a:gd name="T33" fmla="*/ 277 h 512"/>
                <a:gd name="T34" fmla="*/ 256 w 512"/>
                <a:gd name="T35" fmla="*/ 263 h 512"/>
                <a:gd name="T36" fmla="*/ 278 w 512"/>
                <a:gd name="T37" fmla="*/ 236 h 512"/>
                <a:gd name="T38" fmla="*/ 253 w 512"/>
                <a:gd name="T39" fmla="*/ 206 h 512"/>
                <a:gd name="T40" fmla="*/ 236 w 512"/>
                <a:gd name="T41" fmla="*/ 195 h 512"/>
                <a:gd name="T42" fmla="*/ 238 w 512"/>
                <a:gd name="T43" fmla="*/ 183 h 512"/>
                <a:gd name="T44" fmla="*/ 257 w 512"/>
                <a:gd name="T45" fmla="*/ 182 h 512"/>
                <a:gd name="T46" fmla="*/ 277 w 512"/>
                <a:gd name="T47" fmla="*/ 170 h 512"/>
                <a:gd name="T48" fmla="*/ 256 w 512"/>
                <a:gd name="T49" fmla="*/ 163 h 512"/>
                <a:gd name="T50" fmla="*/ 245 w 512"/>
                <a:gd name="T51" fmla="*/ 149 h 512"/>
                <a:gd name="T52" fmla="*/ 225 w 512"/>
                <a:gd name="T53" fmla="*/ 171 h 512"/>
                <a:gd name="T54" fmla="*/ 217 w 512"/>
                <a:gd name="T55" fmla="*/ 203 h 512"/>
                <a:gd name="T56" fmla="*/ 238 w 512"/>
                <a:gd name="T57" fmla="*/ 220 h 512"/>
                <a:gd name="T58" fmla="*/ 255 w 512"/>
                <a:gd name="T59" fmla="*/ 231 h 512"/>
                <a:gd name="T60" fmla="*/ 253 w 512"/>
                <a:gd name="T61" fmla="*/ 244 h 512"/>
                <a:gd name="T62" fmla="*/ 230 w 512"/>
                <a:gd name="T63" fmla="*/ 245 h 512"/>
                <a:gd name="T64" fmla="*/ 213 w 512"/>
                <a:gd name="T65" fmla="*/ 258 h 512"/>
                <a:gd name="T66" fmla="*/ 330 w 512"/>
                <a:gd name="T67" fmla="*/ 373 h 512"/>
                <a:gd name="T68" fmla="*/ 352 w 512"/>
                <a:gd name="T69" fmla="*/ 394 h 512"/>
                <a:gd name="T70" fmla="*/ 341 w 512"/>
                <a:gd name="T71" fmla="*/ 373 h 512"/>
                <a:gd name="T72" fmla="*/ 330 w 512"/>
                <a:gd name="T73" fmla="*/ 330 h 512"/>
                <a:gd name="T74" fmla="*/ 309 w 512"/>
                <a:gd name="T75" fmla="*/ 352 h 512"/>
                <a:gd name="T76" fmla="*/ 330 w 512"/>
                <a:gd name="T77" fmla="*/ 330 h 512"/>
                <a:gd name="T78" fmla="*/ 256 w 512"/>
                <a:gd name="T79" fmla="*/ 512 h 512"/>
                <a:gd name="T80" fmla="*/ 256 w 512"/>
                <a:gd name="T81" fmla="*/ 0 h 512"/>
                <a:gd name="T82" fmla="*/ 373 w 512"/>
                <a:gd name="T83" fmla="*/ 362 h 512"/>
                <a:gd name="T84" fmla="*/ 352 w 512"/>
                <a:gd name="T85" fmla="*/ 352 h 512"/>
                <a:gd name="T86" fmla="*/ 341 w 512"/>
                <a:gd name="T87" fmla="*/ 309 h 512"/>
                <a:gd name="T88" fmla="*/ 362 w 512"/>
                <a:gd name="T89" fmla="*/ 213 h 512"/>
                <a:gd name="T90" fmla="*/ 128 w 512"/>
                <a:gd name="T91" fmla="*/ 213 h 512"/>
                <a:gd name="T92" fmla="*/ 128 w 512"/>
                <a:gd name="T93" fmla="*/ 309 h 512"/>
                <a:gd name="T94" fmla="*/ 117 w 512"/>
                <a:gd name="T95" fmla="*/ 362 h 512"/>
                <a:gd name="T96" fmla="*/ 138 w 512"/>
                <a:gd name="T97" fmla="*/ 373 h 512"/>
                <a:gd name="T98" fmla="*/ 149 w 512"/>
                <a:gd name="T99" fmla="*/ 416 h 512"/>
                <a:gd name="T100" fmla="*/ 373 w 512"/>
                <a:gd name="T101" fmla="*/ 405 h 512"/>
                <a:gd name="T102" fmla="*/ 245 w 512"/>
                <a:gd name="T103" fmla="*/ 394 h 512"/>
                <a:gd name="T104" fmla="*/ 266 w 512"/>
                <a:gd name="T105" fmla="*/ 373 h 512"/>
                <a:gd name="T106" fmla="*/ 245 w 512"/>
                <a:gd name="T107" fmla="*/ 394 h 512"/>
                <a:gd name="T108" fmla="*/ 309 w 512"/>
                <a:gd name="T109" fmla="*/ 394 h 512"/>
                <a:gd name="T110" fmla="*/ 288 w 512"/>
                <a:gd name="T111" fmla="*/ 373 h 512"/>
                <a:gd name="T112" fmla="*/ 288 w 512"/>
                <a:gd name="T113" fmla="*/ 330 h 512"/>
                <a:gd name="T114" fmla="*/ 266 w 512"/>
                <a:gd name="T115" fmla="*/ 352 h 512"/>
                <a:gd name="T116" fmla="*/ 288 w 512"/>
                <a:gd name="T117" fmla="*/ 33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12" h="512">
                  <a:moveTo>
                    <a:pt x="202" y="352"/>
                  </a:moveTo>
                  <a:cubicBezTo>
                    <a:pt x="181" y="352"/>
                    <a:pt x="181" y="352"/>
                    <a:pt x="181" y="352"/>
                  </a:cubicBezTo>
                  <a:cubicBezTo>
                    <a:pt x="181" y="330"/>
                    <a:pt x="181" y="330"/>
                    <a:pt x="181" y="330"/>
                  </a:cubicBezTo>
                  <a:cubicBezTo>
                    <a:pt x="202" y="330"/>
                    <a:pt x="202" y="330"/>
                    <a:pt x="202" y="330"/>
                  </a:cubicBezTo>
                  <a:lnTo>
                    <a:pt x="202" y="352"/>
                  </a:lnTo>
                  <a:close/>
                  <a:moveTo>
                    <a:pt x="160" y="394"/>
                  </a:moveTo>
                  <a:cubicBezTo>
                    <a:pt x="181" y="394"/>
                    <a:pt x="181" y="394"/>
                    <a:pt x="181" y="394"/>
                  </a:cubicBezTo>
                  <a:cubicBezTo>
                    <a:pt x="181" y="373"/>
                    <a:pt x="181" y="373"/>
                    <a:pt x="181" y="373"/>
                  </a:cubicBezTo>
                  <a:cubicBezTo>
                    <a:pt x="160" y="373"/>
                    <a:pt x="160" y="373"/>
                    <a:pt x="160" y="373"/>
                  </a:cubicBezTo>
                  <a:lnTo>
                    <a:pt x="160" y="394"/>
                  </a:lnTo>
                  <a:close/>
                  <a:moveTo>
                    <a:pt x="245" y="330"/>
                  </a:moveTo>
                  <a:cubicBezTo>
                    <a:pt x="224" y="330"/>
                    <a:pt x="224" y="330"/>
                    <a:pt x="224" y="330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245" y="352"/>
                    <a:pt x="245" y="352"/>
                    <a:pt x="245" y="352"/>
                  </a:cubicBezTo>
                  <a:lnTo>
                    <a:pt x="245" y="330"/>
                  </a:lnTo>
                  <a:close/>
                  <a:moveTo>
                    <a:pt x="202" y="394"/>
                  </a:moveTo>
                  <a:cubicBezTo>
                    <a:pt x="224" y="394"/>
                    <a:pt x="224" y="394"/>
                    <a:pt x="224" y="394"/>
                  </a:cubicBezTo>
                  <a:cubicBezTo>
                    <a:pt x="224" y="373"/>
                    <a:pt x="224" y="373"/>
                    <a:pt x="224" y="373"/>
                  </a:cubicBezTo>
                  <a:cubicBezTo>
                    <a:pt x="202" y="373"/>
                    <a:pt x="202" y="373"/>
                    <a:pt x="202" y="373"/>
                  </a:cubicBezTo>
                  <a:lnTo>
                    <a:pt x="202" y="394"/>
                  </a:lnTo>
                  <a:close/>
                  <a:moveTo>
                    <a:pt x="160" y="330"/>
                  </a:moveTo>
                  <a:cubicBezTo>
                    <a:pt x="138" y="330"/>
                    <a:pt x="138" y="330"/>
                    <a:pt x="138" y="330"/>
                  </a:cubicBezTo>
                  <a:cubicBezTo>
                    <a:pt x="138" y="352"/>
                    <a:pt x="138" y="352"/>
                    <a:pt x="138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60" y="352"/>
                    <a:pt x="160" y="352"/>
                    <a:pt x="160" y="352"/>
                  </a:cubicBezTo>
                  <a:lnTo>
                    <a:pt x="160" y="330"/>
                  </a:lnTo>
                  <a:close/>
                  <a:moveTo>
                    <a:pt x="245" y="309"/>
                  </a:moveTo>
                  <a:cubicBezTo>
                    <a:pt x="192" y="309"/>
                    <a:pt x="149" y="266"/>
                    <a:pt x="149" y="213"/>
                  </a:cubicBezTo>
                  <a:cubicBezTo>
                    <a:pt x="149" y="160"/>
                    <a:pt x="192" y="117"/>
                    <a:pt x="245" y="117"/>
                  </a:cubicBezTo>
                  <a:cubicBezTo>
                    <a:pt x="298" y="117"/>
                    <a:pt x="341" y="160"/>
                    <a:pt x="341" y="213"/>
                  </a:cubicBezTo>
                  <a:cubicBezTo>
                    <a:pt x="341" y="266"/>
                    <a:pt x="298" y="309"/>
                    <a:pt x="245" y="309"/>
                  </a:cubicBezTo>
                  <a:close/>
                  <a:moveTo>
                    <a:pt x="243" y="264"/>
                  </a:moveTo>
                  <a:cubicBezTo>
                    <a:pt x="243" y="264"/>
                    <a:pt x="245" y="264"/>
                    <a:pt x="245" y="264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256" y="263"/>
                    <a:pt x="256" y="263"/>
                    <a:pt x="256" y="263"/>
                  </a:cubicBezTo>
                  <a:cubicBezTo>
                    <a:pt x="256" y="262"/>
                    <a:pt x="265" y="260"/>
                    <a:pt x="270" y="256"/>
                  </a:cubicBezTo>
                  <a:cubicBezTo>
                    <a:pt x="276" y="251"/>
                    <a:pt x="278" y="244"/>
                    <a:pt x="278" y="236"/>
                  </a:cubicBezTo>
                  <a:cubicBezTo>
                    <a:pt x="278" y="229"/>
                    <a:pt x="275" y="224"/>
                    <a:pt x="272" y="219"/>
                  </a:cubicBezTo>
                  <a:cubicBezTo>
                    <a:pt x="268" y="215"/>
                    <a:pt x="262" y="210"/>
                    <a:pt x="253" y="206"/>
                  </a:cubicBezTo>
                  <a:cubicBezTo>
                    <a:pt x="246" y="203"/>
                    <a:pt x="242" y="200"/>
                    <a:pt x="240" y="199"/>
                  </a:cubicBezTo>
                  <a:cubicBezTo>
                    <a:pt x="238" y="198"/>
                    <a:pt x="237" y="197"/>
                    <a:pt x="236" y="195"/>
                  </a:cubicBezTo>
                  <a:cubicBezTo>
                    <a:pt x="235" y="194"/>
                    <a:pt x="234" y="192"/>
                    <a:pt x="234" y="190"/>
                  </a:cubicBezTo>
                  <a:cubicBezTo>
                    <a:pt x="234" y="187"/>
                    <a:pt x="236" y="185"/>
                    <a:pt x="238" y="183"/>
                  </a:cubicBezTo>
                  <a:cubicBezTo>
                    <a:pt x="240" y="181"/>
                    <a:pt x="243" y="181"/>
                    <a:pt x="247" y="181"/>
                  </a:cubicBezTo>
                  <a:cubicBezTo>
                    <a:pt x="250" y="181"/>
                    <a:pt x="253" y="181"/>
                    <a:pt x="257" y="182"/>
                  </a:cubicBezTo>
                  <a:cubicBezTo>
                    <a:pt x="260" y="183"/>
                    <a:pt x="265" y="184"/>
                    <a:pt x="270" y="186"/>
                  </a:cubicBezTo>
                  <a:cubicBezTo>
                    <a:pt x="277" y="170"/>
                    <a:pt x="277" y="170"/>
                    <a:pt x="277" y="170"/>
                  </a:cubicBezTo>
                  <a:cubicBezTo>
                    <a:pt x="271" y="168"/>
                    <a:pt x="269" y="166"/>
                    <a:pt x="264" y="165"/>
                  </a:cubicBezTo>
                  <a:cubicBezTo>
                    <a:pt x="261" y="164"/>
                    <a:pt x="256" y="164"/>
                    <a:pt x="256" y="163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45" y="149"/>
                    <a:pt x="245" y="149"/>
                    <a:pt x="245" y="149"/>
                  </a:cubicBezTo>
                  <a:cubicBezTo>
                    <a:pt x="245" y="164"/>
                    <a:pt x="245" y="164"/>
                    <a:pt x="245" y="164"/>
                  </a:cubicBezTo>
                  <a:cubicBezTo>
                    <a:pt x="234" y="164"/>
                    <a:pt x="229" y="167"/>
                    <a:pt x="225" y="171"/>
                  </a:cubicBezTo>
                  <a:cubicBezTo>
                    <a:pt x="219" y="176"/>
                    <a:pt x="215" y="182"/>
                    <a:pt x="215" y="191"/>
                  </a:cubicBezTo>
                  <a:cubicBezTo>
                    <a:pt x="215" y="196"/>
                    <a:pt x="215" y="200"/>
                    <a:pt x="217" y="203"/>
                  </a:cubicBezTo>
                  <a:cubicBezTo>
                    <a:pt x="219" y="207"/>
                    <a:pt x="221" y="210"/>
                    <a:pt x="224" y="212"/>
                  </a:cubicBezTo>
                  <a:cubicBezTo>
                    <a:pt x="227" y="215"/>
                    <a:pt x="232" y="218"/>
                    <a:pt x="238" y="220"/>
                  </a:cubicBezTo>
                  <a:cubicBezTo>
                    <a:pt x="244" y="223"/>
                    <a:pt x="248" y="226"/>
                    <a:pt x="250" y="227"/>
                  </a:cubicBezTo>
                  <a:cubicBezTo>
                    <a:pt x="252" y="228"/>
                    <a:pt x="254" y="230"/>
                    <a:pt x="255" y="231"/>
                  </a:cubicBezTo>
                  <a:cubicBezTo>
                    <a:pt x="256" y="233"/>
                    <a:pt x="257" y="235"/>
                    <a:pt x="257" y="237"/>
                  </a:cubicBezTo>
                  <a:cubicBezTo>
                    <a:pt x="257" y="240"/>
                    <a:pt x="255" y="243"/>
                    <a:pt x="253" y="244"/>
                  </a:cubicBezTo>
                  <a:cubicBezTo>
                    <a:pt x="250" y="246"/>
                    <a:pt x="247" y="247"/>
                    <a:pt x="242" y="247"/>
                  </a:cubicBezTo>
                  <a:cubicBezTo>
                    <a:pt x="239" y="247"/>
                    <a:pt x="234" y="246"/>
                    <a:pt x="230" y="245"/>
                  </a:cubicBezTo>
                  <a:cubicBezTo>
                    <a:pt x="225" y="244"/>
                    <a:pt x="224" y="242"/>
                    <a:pt x="213" y="239"/>
                  </a:cubicBezTo>
                  <a:cubicBezTo>
                    <a:pt x="213" y="258"/>
                    <a:pt x="213" y="258"/>
                    <a:pt x="213" y="258"/>
                  </a:cubicBezTo>
                  <a:cubicBezTo>
                    <a:pt x="224" y="262"/>
                    <a:pt x="232" y="264"/>
                    <a:pt x="243" y="264"/>
                  </a:cubicBezTo>
                  <a:close/>
                  <a:moveTo>
                    <a:pt x="330" y="373"/>
                  </a:moveTo>
                  <a:cubicBezTo>
                    <a:pt x="330" y="394"/>
                    <a:pt x="330" y="394"/>
                    <a:pt x="330" y="394"/>
                  </a:cubicBezTo>
                  <a:cubicBezTo>
                    <a:pt x="352" y="394"/>
                    <a:pt x="352" y="394"/>
                    <a:pt x="352" y="394"/>
                  </a:cubicBezTo>
                  <a:cubicBezTo>
                    <a:pt x="352" y="373"/>
                    <a:pt x="352" y="373"/>
                    <a:pt x="352" y="373"/>
                  </a:cubicBezTo>
                  <a:cubicBezTo>
                    <a:pt x="341" y="373"/>
                    <a:pt x="341" y="373"/>
                    <a:pt x="341" y="373"/>
                  </a:cubicBezTo>
                  <a:lnTo>
                    <a:pt x="330" y="373"/>
                  </a:lnTo>
                  <a:close/>
                  <a:moveTo>
                    <a:pt x="330" y="330"/>
                  </a:moveTo>
                  <a:cubicBezTo>
                    <a:pt x="309" y="330"/>
                    <a:pt x="309" y="330"/>
                    <a:pt x="309" y="330"/>
                  </a:cubicBezTo>
                  <a:cubicBezTo>
                    <a:pt x="309" y="352"/>
                    <a:pt x="309" y="352"/>
                    <a:pt x="309" y="352"/>
                  </a:cubicBezTo>
                  <a:cubicBezTo>
                    <a:pt x="330" y="352"/>
                    <a:pt x="330" y="352"/>
                    <a:pt x="330" y="352"/>
                  </a:cubicBezTo>
                  <a:lnTo>
                    <a:pt x="330" y="330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62"/>
                  </a:moveTo>
                  <a:cubicBezTo>
                    <a:pt x="373" y="356"/>
                    <a:pt x="368" y="352"/>
                    <a:pt x="362" y="352"/>
                  </a:cubicBezTo>
                  <a:cubicBezTo>
                    <a:pt x="352" y="352"/>
                    <a:pt x="352" y="352"/>
                    <a:pt x="352" y="352"/>
                  </a:cubicBezTo>
                  <a:cubicBezTo>
                    <a:pt x="352" y="320"/>
                    <a:pt x="352" y="320"/>
                    <a:pt x="352" y="320"/>
                  </a:cubicBezTo>
                  <a:cubicBezTo>
                    <a:pt x="352" y="314"/>
                    <a:pt x="347" y="309"/>
                    <a:pt x="341" y="309"/>
                  </a:cubicBezTo>
                  <a:cubicBezTo>
                    <a:pt x="312" y="309"/>
                    <a:pt x="312" y="309"/>
                    <a:pt x="312" y="309"/>
                  </a:cubicBezTo>
                  <a:cubicBezTo>
                    <a:pt x="342" y="288"/>
                    <a:pt x="362" y="253"/>
                    <a:pt x="362" y="213"/>
                  </a:cubicBezTo>
                  <a:cubicBezTo>
                    <a:pt x="362" y="148"/>
                    <a:pt x="310" y="96"/>
                    <a:pt x="245" y="96"/>
                  </a:cubicBezTo>
                  <a:cubicBezTo>
                    <a:pt x="180" y="96"/>
                    <a:pt x="128" y="148"/>
                    <a:pt x="128" y="213"/>
                  </a:cubicBezTo>
                  <a:cubicBezTo>
                    <a:pt x="128" y="253"/>
                    <a:pt x="148" y="288"/>
                    <a:pt x="178" y="309"/>
                  </a:cubicBezTo>
                  <a:cubicBezTo>
                    <a:pt x="128" y="309"/>
                    <a:pt x="128" y="309"/>
                    <a:pt x="128" y="309"/>
                  </a:cubicBezTo>
                  <a:cubicBezTo>
                    <a:pt x="122" y="309"/>
                    <a:pt x="117" y="314"/>
                    <a:pt x="117" y="320"/>
                  </a:cubicBezTo>
                  <a:cubicBezTo>
                    <a:pt x="117" y="362"/>
                    <a:pt x="117" y="362"/>
                    <a:pt x="117" y="362"/>
                  </a:cubicBezTo>
                  <a:cubicBezTo>
                    <a:pt x="117" y="368"/>
                    <a:pt x="122" y="373"/>
                    <a:pt x="128" y="373"/>
                  </a:cubicBezTo>
                  <a:cubicBezTo>
                    <a:pt x="138" y="373"/>
                    <a:pt x="138" y="373"/>
                    <a:pt x="138" y="373"/>
                  </a:cubicBezTo>
                  <a:cubicBezTo>
                    <a:pt x="138" y="405"/>
                    <a:pt x="138" y="405"/>
                    <a:pt x="138" y="405"/>
                  </a:cubicBezTo>
                  <a:cubicBezTo>
                    <a:pt x="138" y="411"/>
                    <a:pt x="143" y="416"/>
                    <a:pt x="149" y="416"/>
                  </a:cubicBezTo>
                  <a:cubicBezTo>
                    <a:pt x="362" y="416"/>
                    <a:pt x="362" y="416"/>
                    <a:pt x="362" y="416"/>
                  </a:cubicBezTo>
                  <a:cubicBezTo>
                    <a:pt x="368" y="416"/>
                    <a:pt x="373" y="411"/>
                    <a:pt x="373" y="405"/>
                  </a:cubicBezTo>
                  <a:lnTo>
                    <a:pt x="373" y="362"/>
                  </a:lnTo>
                  <a:close/>
                  <a:moveTo>
                    <a:pt x="245" y="394"/>
                  </a:moveTo>
                  <a:cubicBezTo>
                    <a:pt x="266" y="394"/>
                    <a:pt x="266" y="394"/>
                    <a:pt x="266" y="394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245" y="373"/>
                    <a:pt x="245" y="373"/>
                    <a:pt x="245" y="373"/>
                  </a:cubicBezTo>
                  <a:lnTo>
                    <a:pt x="245" y="394"/>
                  </a:lnTo>
                  <a:close/>
                  <a:moveTo>
                    <a:pt x="288" y="394"/>
                  </a:moveTo>
                  <a:cubicBezTo>
                    <a:pt x="309" y="394"/>
                    <a:pt x="309" y="394"/>
                    <a:pt x="309" y="394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288" y="373"/>
                    <a:pt x="288" y="373"/>
                    <a:pt x="288" y="373"/>
                  </a:cubicBezTo>
                  <a:lnTo>
                    <a:pt x="288" y="394"/>
                  </a:lnTo>
                  <a:close/>
                  <a:moveTo>
                    <a:pt x="288" y="330"/>
                  </a:moveTo>
                  <a:cubicBezTo>
                    <a:pt x="266" y="330"/>
                    <a:pt x="266" y="330"/>
                    <a:pt x="266" y="330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88" y="352"/>
                    <a:pt x="288" y="352"/>
                    <a:pt x="288" y="352"/>
                  </a:cubicBezTo>
                  <a:lnTo>
                    <a:pt x="288" y="330"/>
                  </a:ln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5F9FEAC-C1F5-4B7F-B253-5576911EF4E5}"/>
              </a:ext>
            </a:extLst>
          </p:cNvPr>
          <p:cNvGrpSpPr/>
          <p:nvPr/>
        </p:nvGrpSpPr>
        <p:grpSpPr>
          <a:xfrm>
            <a:off x="1824973" y="1971209"/>
            <a:ext cx="360000" cy="605504"/>
            <a:chOff x="1831145" y="1813846"/>
            <a:chExt cx="360000" cy="605504"/>
          </a:xfrm>
        </p:grpSpPr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F419D6AC-6A9F-4639-8DD6-CFB004B425B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011145" y="2149124"/>
              <a:ext cx="0" cy="27022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reeform 106">
              <a:extLst>
                <a:ext uri="{FF2B5EF4-FFF2-40B4-BE49-F238E27FC236}">
                  <a16:creationId xmlns:a16="http://schemas.microsoft.com/office/drawing/2014/main" id="{61EC93A8-8B52-4B72-9069-0B3111AB4E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31145" y="1813846"/>
              <a:ext cx="360000" cy="361058"/>
            </a:xfrm>
            <a:custGeom>
              <a:avLst/>
              <a:gdLst>
                <a:gd name="T0" fmla="*/ 373 w 512"/>
                <a:gd name="T1" fmla="*/ 362 h 512"/>
                <a:gd name="T2" fmla="*/ 352 w 512"/>
                <a:gd name="T3" fmla="*/ 298 h 512"/>
                <a:gd name="T4" fmla="*/ 330 w 512"/>
                <a:gd name="T5" fmla="*/ 298 h 512"/>
                <a:gd name="T6" fmla="*/ 298 w 512"/>
                <a:gd name="T7" fmla="*/ 323 h 512"/>
                <a:gd name="T8" fmla="*/ 288 w 512"/>
                <a:gd name="T9" fmla="*/ 288 h 512"/>
                <a:gd name="T10" fmla="*/ 277 w 512"/>
                <a:gd name="T11" fmla="*/ 330 h 512"/>
                <a:gd name="T12" fmla="*/ 277 w 512"/>
                <a:gd name="T13" fmla="*/ 333 h 512"/>
                <a:gd name="T14" fmla="*/ 216 w 512"/>
                <a:gd name="T15" fmla="*/ 394 h 512"/>
                <a:gd name="T16" fmla="*/ 234 w 512"/>
                <a:gd name="T17" fmla="*/ 331 h 512"/>
                <a:gd name="T18" fmla="*/ 234 w 512"/>
                <a:gd name="T19" fmla="*/ 298 h 512"/>
                <a:gd name="T20" fmla="*/ 213 w 512"/>
                <a:gd name="T21" fmla="*/ 298 h 512"/>
                <a:gd name="T22" fmla="*/ 181 w 512"/>
                <a:gd name="T23" fmla="*/ 336 h 512"/>
                <a:gd name="T24" fmla="*/ 170 w 512"/>
                <a:gd name="T25" fmla="*/ 288 h 512"/>
                <a:gd name="T26" fmla="*/ 160 w 512"/>
                <a:gd name="T27" fmla="*/ 346 h 512"/>
                <a:gd name="T28" fmla="*/ 138 w 512"/>
                <a:gd name="T29" fmla="*/ 197 h 512"/>
                <a:gd name="T30" fmla="*/ 167 w 512"/>
                <a:gd name="T31" fmla="*/ 187 h 512"/>
                <a:gd name="T32" fmla="*/ 208 w 512"/>
                <a:gd name="T33" fmla="*/ 213 h 512"/>
                <a:gd name="T34" fmla="*/ 218 w 512"/>
                <a:gd name="T35" fmla="*/ 143 h 512"/>
                <a:gd name="T36" fmla="*/ 226 w 512"/>
                <a:gd name="T37" fmla="*/ 135 h 512"/>
                <a:gd name="T38" fmla="*/ 251 w 512"/>
                <a:gd name="T39" fmla="*/ 117 h 512"/>
                <a:gd name="T40" fmla="*/ 283 w 512"/>
                <a:gd name="T41" fmla="*/ 146 h 512"/>
                <a:gd name="T42" fmla="*/ 269 w 512"/>
                <a:gd name="T43" fmla="*/ 163 h 512"/>
                <a:gd name="T44" fmla="*/ 304 w 512"/>
                <a:gd name="T45" fmla="*/ 213 h 512"/>
                <a:gd name="T46" fmla="*/ 344 w 512"/>
                <a:gd name="T47" fmla="*/ 187 h 512"/>
                <a:gd name="T48" fmla="*/ 373 w 512"/>
                <a:gd name="T49" fmla="*/ 197 h 512"/>
                <a:gd name="T50" fmla="*/ 256 w 512"/>
                <a:gd name="T51" fmla="*/ 512 h 512"/>
                <a:gd name="T52" fmla="*/ 256 w 512"/>
                <a:gd name="T53" fmla="*/ 0 h 512"/>
                <a:gd name="T54" fmla="*/ 394 w 512"/>
                <a:gd name="T55" fmla="*/ 197 h 512"/>
                <a:gd name="T56" fmla="*/ 327 w 512"/>
                <a:gd name="T57" fmla="*/ 174 h 512"/>
                <a:gd name="T58" fmla="*/ 304 w 512"/>
                <a:gd name="T59" fmla="*/ 192 h 512"/>
                <a:gd name="T60" fmla="*/ 303 w 512"/>
                <a:gd name="T61" fmla="*/ 152 h 512"/>
                <a:gd name="T62" fmla="*/ 250 w 512"/>
                <a:gd name="T63" fmla="*/ 96 h 512"/>
                <a:gd name="T64" fmla="*/ 211 w 512"/>
                <a:gd name="T65" fmla="*/ 120 h 512"/>
                <a:gd name="T66" fmla="*/ 189 w 512"/>
                <a:gd name="T67" fmla="*/ 141 h 512"/>
                <a:gd name="T68" fmla="*/ 195 w 512"/>
                <a:gd name="T69" fmla="*/ 160 h 512"/>
                <a:gd name="T70" fmla="*/ 208 w 512"/>
                <a:gd name="T71" fmla="*/ 192 h 512"/>
                <a:gd name="T72" fmla="*/ 184 w 512"/>
                <a:gd name="T73" fmla="*/ 175 h 512"/>
                <a:gd name="T74" fmla="*/ 117 w 512"/>
                <a:gd name="T75" fmla="*/ 197 h 512"/>
                <a:gd name="T76" fmla="*/ 123 w 512"/>
                <a:gd name="T77" fmla="*/ 393 h 512"/>
                <a:gd name="T78" fmla="*/ 176 w 512"/>
                <a:gd name="T79" fmla="*/ 361 h 512"/>
                <a:gd name="T80" fmla="*/ 192 w 512"/>
                <a:gd name="T81" fmla="*/ 402 h 512"/>
                <a:gd name="T82" fmla="*/ 202 w 512"/>
                <a:gd name="T83" fmla="*/ 416 h 512"/>
                <a:gd name="T84" fmla="*/ 309 w 512"/>
                <a:gd name="T85" fmla="*/ 416 h 512"/>
                <a:gd name="T86" fmla="*/ 312 w 512"/>
                <a:gd name="T87" fmla="*/ 415 h 512"/>
                <a:gd name="T88" fmla="*/ 304 w 512"/>
                <a:gd name="T89" fmla="*/ 348 h 512"/>
                <a:gd name="T90" fmla="*/ 377 w 512"/>
                <a:gd name="T91" fmla="*/ 392 h 512"/>
                <a:gd name="T92" fmla="*/ 388 w 512"/>
                <a:gd name="T93" fmla="*/ 393 h 512"/>
                <a:gd name="T94" fmla="*/ 394 w 512"/>
                <a:gd name="T95" fmla="*/ 19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373" y="197"/>
                  </a:moveTo>
                  <a:cubicBezTo>
                    <a:pt x="373" y="362"/>
                    <a:pt x="373" y="362"/>
                    <a:pt x="373" y="362"/>
                  </a:cubicBezTo>
                  <a:cubicBezTo>
                    <a:pt x="352" y="346"/>
                    <a:pt x="352" y="346"/>
                    <a:pt x="352" y="346"/>
                  </a:cubicBezTo>
                  <a:cubicBezTo>
                    <a:pt x="352" y="298"/>
                    <a:pt x="352" y="298"/>
                    <a:pt x="352" y="298"/>
                  </a:cubicBezTo>
                  <a:cubicBezTo>
                    <a:pt x="352" y="292"/>
                    <a:pt x="347" y="288"/>
                    <a:pt x="341" y="288"/>
                  </a:cubicBezTo>
                  <a:cubicBezTo>
                    <a:pt x="335" y="288"/>
                    <a:pt x="330" y="292"/>
                    <a:pt x="330" y="298"/>
                  </a:cubicBezTo>
                  <a:cubicBezTo>
                    <a:pt x="330" y="336"/>
                    <a:pt x="330" y="336"/>
                    <a:pt x="330" y="336"/>
                  </a:cubicBezTo>
                  <a:cubicBezTo>
                    <a:pt x="298" y="323"/>
                    <a:pt x="298" y="323"/>
                    <a:pt x="298" y="323"/>
                  </a:cubicBezTo>
                  <a:cubicBezTo>
                    <a:pt x="298" y="298"/>
                    <a:pt x="298" y="298"/>
                    <a:pt x="298" y="298"/>
                  </a:cubicBezTo>
                  <a:cubicBezTo>
                    <a:pt x="298" y="292"/>
                    <a:pt x="294" y="288"/>
                    <a:pt x="288" y="288"/>
                  </a:cubicBezTo>
                  <a:cubicBezTo>
                    <a:pt x="282" y="288"/>
                    <a:pt x="277" y="292"/>
                    <a:pt x="277" y="298"/>
                  </a:cubicBezTo>
                  <a:cubicBezTo>
                    <a:pt x="277" y="330"/>
                    <a:pt x="277" y="330"/>
                    <a:pt x="277" y="330"/>
                  </a:cubicBezTo>
                  <a:cubicBezTo>
                    <a:pt x="277" y="331"/>
                    <a:pt x="277" y="331"/>
                    <a:pt x="277" y="331"/>
                  </a:cubicBezTo>
                  <a:cubicBezTo>
                    <a:pt x="277" y="332"/>
                    <a:pt x="277" y="332"/>
                    <a:pt x="277" y="333"/>
                  </a:cubicBezTo>
                  <a:cubicBezTo>
                    <a:pt x="295" y="394"/>
                    <a:pt x="295" y="394"/>
                    <a:pt x="295" y="394"/>
                  </a:cubicBezTo>
                  <a:cubicBezTo>
                    <a:pt x="216" y="394"/>
                    <a:pt x="216" y="394"/>
                    <a:pt x="216" y="394"/>
                  </a:cubicBezTo>
                  <a:cubicBezTo>
                    <a:pt x="234" y="333"/>
                    <a:pt x="234" y="333"/>
                    <a:pt x="234" y="333"/>
                  </a:cubicBezTo>
                  <a:cubicBezTo>
                    <a:pt x="234" y="332"/>
                    <a:pt x="234" y="332"/>
                    <a:pt x="234" y="331"/>
                  </a:cubicBezTo>
                  <a:cubicBezTo>
                    <a:pt x="234" y="331"/>
                    <a:pt x="234" y="331"/>
                    <a:pt x="234" y="330"/>
                  </a:cubicBezTo>
                  <a:cubicBezTo>
                    <a:pt x="234" y="298"/>
                    <a:pt x="234" y="298"/>
                    <a:pt x="234" y="298"/>
                  </a:cubicBezTo>
                  <a:cubicBezTo>
                    <a:pt x="234" y="292"/>
                    <a:pt x="230" y="288"/>
                    <a:pt x="224" y="288"/>
                  </a:cubicBezTo>
                  <a:cubicBezTo>
                    <a:pt x="218" y="288"/>
                    <a:pt x="213" y="292"/>
                    <a:pt x="213" y="298"/>
                  </a:cubicBezTo>
                  <a:cubicBezTo>
                    <a:pt x="213" y="323"/>
                    <a:pt x="213" y="323"/>
                    <a:pt x="213" y="323"/>
                  </a:cubicBezTo>
                  <a:cubicBezTo>
                    <a:pt x="181" y="336"/>
                    <a:pt x="181" y="336"/>
                    <a:pt x="181" y="336"/>
                  </a:cubicBezTo>
                  <a:cubicBezTo>
                    <a:pt x="181" y="298"/>
                    <a:pt x="181" y="298"/>
                    <a:pt x="181" y="298"/>
                  </a:cubicBezTo>
                  <a:cubicBezTo>
                    <a:pt x="181" y="292"/>
                    <a:pt x="176" y="288"/>
                    <a:pt x="170" y="288"/>
                  </a:cubicBezTo>
                  <a:cubicBezTo>
                    <a:pt x="164" y="288"/>
                    <a:pt x="160" y="292"/>
                    <a:pt x="160" y="298"/>
                  </a:cubicBezTo>
                  <a:cubicBezTo>
                    <a:pt x="160" y="346"/>
                    <a:pt x="160" y="346"/>
                    <a:pt x="160" y="346"/>
                  </a:cubicBezTo>
                  <a:cubicBezTo>
                    <a:pt x="138" y="362"/>
                    <a:pt x="138" y="362"/>
                    <a:pt x="138" y="362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38" y="188"/>
                    <a:pt x="146" y="181"/>
                    <a:pt x="154" y="181"/>
                  </a:cubicBezTo>
                  <a:cubicBezTo>
                    <a:pt x="159" y="181"/>
                    <a:pt x="164" y="183"/>
                    <a:pt x="167" y="187"/>
                  </a:cubicBezTo>
                  <a:cubicBezTo>
                    <a:pt x="167" y="187"/>
                    <a:pt x="172" y="194"/>
                    <a:pt x="176" y="199"/>
                  </a:cubicBezTo>
                  <a:cubicBezTo>
                    <a:pt x="187" y="211"/>
                    <a:pt x="198" y="213"/>
                    <a:pt x="208" y="213"/>
                  </a:cubicBezTo>
                  <a:cubicBezTo>
                    <a:pt x="232" y="213"/>
                    <a:pt x="245" y="198"/>
                    <a:pt x="245" y="170"/>
                  </a:cubicBezTo>
                  <a:cubicBezTo>
                    <a:pt x="245" y="156"/>
                    <a:pt x="231" y="148"/>
                    <a:pt x="218" y="143"/>
                  </a:cubicBezTo>
                  <a:cubicBezTo>
                    <a:pt x="221" y="140"/>
                    <a:pt x="221" y="140"/>
                    <a:pt x="221" y="140"/>
                  </a:cubicBezTo>
                  <a:cubicBezTo>
                    <a:pt x="222" y="139"/>
                    <a:pt x="223" y="138"/>
                    <a:pt x="226" y="135"/>
                  </a:cubicBezTo>
                  <a:cubicBezTo>
                    <a:pt x="228" y="133"/>
                    <a:pt x="230" y="131"/>
                    <a:pt x="232" y="128"/>
                  </a:cubicBezTo>
                  <a:cubicBezTo>
                    <a:pt x="239" y="121"/>
                    <a:pt x="242" y="117"/>
                    <a:pt x="251" y="117"/>
                  </a:cubicBezTo>
                  <a:cubicBezTo>
                    <a:pt x="264" y="117"/>
                    <a:pt x="273" y="120"/>
                    <a:pt x="279" y="127"/>
                  </a:cubicBezTo>
                  <a:cubicBezTo>
                    <a:pt x="284" y="133"/>
                    <a:pt x="284" y="141"/>
                    <a:pt x="283" y="146"/>
                  </a:cubicBezTo>
                  <a:cubicBezTo>
                    <a:pt x="281" y="152"/>
                    <a:pt x="274" y="158"/>
                    <a:pt x="271" y="161"/>
                  </a:cubicBezTo>
                  <a:cubicBezTo>
                    <a:pt x="271" y="162"/>
                    <a:pt x="270" y="162"/>
                    <a:pt x="269" y="163"/>
                  </a:cubicBezTo>
                  <a:cubicBezTo>
                    <a:pt x="267" y="165"/>
                    <a:pt x="266" y="167"/>
                    <a:pt x="266" y="170"/>
                  </a:cubicBezTo>
                  <a:cubicBezTo>
                    <a:pt x="266" y="197"/>
                    <a:pt x="286" y="213"/>
                    <a:pt x="304" y="213"/>
                  </a:cubicBezTo>
                  <a:cubicBezTo>
                    <a:pt x="322" y="213"/>
                    <a:pt x="332" y="204"/>
                    <a:pt x="336" y="198"/>
                  </a:cubicBezTo>
                  <a:cubicBezTo>
                    <a:pt x="339" y="193"/>
                    <a:pt x="344" y="188"/>
                    <a:pt x="344" y="187"/>
                  </a:cubicBezTo>
                  <a:cubicBezTo>
                    <a:pt x="347" y="183"/>
                    <a:pt x="352" y="181"/>
                    <a:pt x="357" y="181"/>
                  </a:cubicBezTo>
                  <a:cubicBezTo>
                    <a:pt x="366" y="181"/>
                    <a:pt x="373" y="188"/>
                    <a:pt x="373" y="19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197"/>
                  </a:moveTo>
                  <a:cubicBezTo>
                    <a:pt x="394" y="176"/>
                    <a:pt x="378" y="160"/>
                    <a:pt x="357" y="160"/>
                  </a:cubicBezTo>
                  <a:cubicBezTo>
                    <a:pt x="345" y="160"/>
                    <a:pt x="334" y="165"/>
                    <a:pt x="327" y="174"/>
                  </a:cubicBezTo>
                  <a:cubicBezTo>
                    <a:pt x="327" y="174"/>
                    <a:pt x="322" y="180"/>
                    <a:pt x="319" y="185"/>
                  </a:cubicBezTo>
                  <a:cubicBezTo>
                    <a:pt x="316" y="189"/>
                    <a:pt x="311" y="192"/>
                    <a:pt x="304" y="192"/>
                  </a:cubicBezTo>
                  <a:cubicBezTo>
                    <a:pt x="298" y="192"/>
                    <a:pt x="290" y="186"/>
                    <a:pt x="288" y="175"/>
                  </a:cubicBezTo>
                  <a:cubicBezTo>
                    <a:pt x="293" y="170"/>
                    <a:pt x="301" y="162"/>
                    <a:pt x="303" y="152"/>
                  </a:cubicBezTo>
                  <a:cubicBezTo>
                    <a:pt x="306" y="141"/>
                    <a:pt x="305" y="126"/>
                    <a:pt x="295" y="114"/>
                  </a:cubicBezTo>
                  <a:cubicBezTo>
                    <a:pt x="289" y="105"/>
                    <a:pt x="275" y="95"/>
                    <a:pt x="250" y="96"/>
                  </a:cubicBezTo>
                  <a:cubicBezTo>
                    <a:pt x="232" y="96"/>
                    <a:pt x="223" y="107"/>
                    <a:pt x="216" y="114"/>
                  </a:cubicBezTo>
                  <a:cubicBezTo>
                    <a:pt x="214" y="116"/>
                    <a:pt x="213" y="118"/>
                    <a:pt x="211" y="120"/>
                  </a:cubicBezTo>
                  <a:cubicBezTo>
                    <a:pt x="208" y="123"/>
                    <a:pt x="207" y="124"/>
                    <a:pt x="205" y="125"/>
                  </a:cubicBezTo>
                  <a:cubicBezTo>
                    <a:pt x="189" y="141"/>
                    <a:pt x="189" y="141"/>
                    <a:pt x="189" y="141"/>
                  </a:cubicBezTo>
                  <a:cubicBezTo>
                    <a:pt x="187" y="144"/>
                    <a:pt x="186" y="148"/>
                    <a:pt x="187" y="152"/>
                  </a:cubicBezTo>
                  <a:cubicBezTo>
                    <a:pt x="188" y="156"/>
                    <a:pt x="191" y="159"/>
                    <a:pt x="195" y="160"/>
                  </a:cubicBezTo>
                  <a:cubicBezTo>
                    <a:pt x="208" y="162"/>
                    <a:pt x="222" y="167"/>
                    <a:pt x="224" y="170"/>
                  </a:cubicBezTo>
                  <a:cubicBezTo>
                    <a:pt x="224" y="192"/>
                    <a:pt x="214" y="192"/>
                    <a:pt x="208" y="192"/>
                  </a:cubicBezTo>
                  <a:cubicBezTo>
                    <a:pt x="202" y="192"/>
                    <a:pt x="198" y="191"/>
                    <a:pt x="192" y="185"/>
                  </a:cubicBezTo>
                  <a:cubicBezTo>
                    <a:pt x="188" y="181"/>
                    <a:pt x="184" y="175"/>
                    <a:pt x="184" y="175"/>
                  </a:cubicBezTo>
                  <a:cubicBezTo>
                    <a:pt x="177" y="165"/>
                    <a:pt x="166" y="160"/>
                    <a:pt x="154" y="160"/>
                  </a:cubicBezTo>
                  <a:cubicBezTo>
                    <a:pt x="134" y="160"/>
                    <a:pt x="117" y="176"/>
                    <a:pt x="117" y="197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88"/>
                    <a:pt x="119" y="391"/>
                    <a:pt x="123" y="393"/>
                  </a:cubicBezTo>
                  <a:cubicBezTo>
                    <a:pt x="127" y="395"/>
                    <a:pt x="131" y="395"/>
                    <a:pt x="134" y="392"/>
                  </a:cubicBezTo>
                  <a:cubicBezTo>
                    <a:pt x="176" y="361"/>
                    <a:pt x="176" y="361"/>
                    <a:pt x="176" y="361"/>
                  </a:cubicBezTo>
                  <a:cubicBezTo>
                    <a:pt x="207" y="348"/>
                    <a:pt x="207" y="348"/>
                    <a:pt x="207" y="348"/>
                  </a:cubicBezTo>
                  <a:cubicBezTo>
                    <a:pt x="192" y="402"/>
                    <a:pt x="192" y="402"/>
                    <a:pt x="192" y="402"/>
                  </a:cubicBezTo>
                  <a:cubicBezTo>
                    <a:pt x="190" y="408"/>
                    <a:pt x="194" y="414"/>
                    <a:pt x="199" y="415"/>
                  </a:cubicBezTo>
                  <a:cubicBezTo>
                    <a:pt x="200" y="416"/>
                    <a:pt x="201" y="416"/>
                    <a:pt x="202" y="416"/>
                  </a:cubicBezTo>
                  <a:cubicBezTo>
                    <a:pt x="202" y="416"/>
                    <a:pt x="202" y="416"/>
                    <a:pt x="202" y="416"/>
                  </a:cubicBezTo>
                  <a:cubicBezTo>
                    <a:pt x="309" y="416"/>
                    <a:pt x="309" y="416"/>
                    <a:pt x="309" y="416"/>
                  </a:cubicBezTo>
                  <a:cubicBezTo>
                    <a:pt x="309" y="416"/>
                    <a:pt x="309" y="416"/>
                    <a:pt x="309" y="416"/>
                  </a:cubicBezTo>
                  <a:cubicBezTo>
                    <a:pt x="310" y="416"/>
                    <a:pt x="311" y="416"/>
                    <a:pt x="312" y="415"/>
                  </a:cubicBezTo>
                  <a:cubicBezTo>
                    <a:pt x="318" y="414"/>
                    <a:pt x="321" y="408"/>
                    <a:pt x="319" y="402"/>
                  </a:cubicBezTo>
                  <a:cubicBezTo>
                    <a:pt x="304" y="348"/>
                    <a:pt x="304" y="348"/>
                    <a:pt x="304" y="348"/>
                  </a:cubicBezTo>
                  <a:cubicBezTo>
                    <a:pt x="336" y="361"/>
                    <a:pt x="336" y="361"/>
                    <a:pt x="336" y="361"/>
                  </a:cubicBezTo>
                  <a:cubicBezTo>
                    <a:pt x="377" y="392"/>
                    <a:pt x="377" y="392"/>
                    <a:pt x="377" y="392"/>
                  </a:cubicBezTo>
                  <a:cubicBezTo>
                    <a:pt x="379" y="394"/>
                    <a:pt x="381" y="394"/>
                    <a:pt x="384" y="394"/>
                  </a:cubicBezTo>
                  <a:cubicBezTo>
                    <a:pt x="385" y="394"/>
                    <a:pt x="387" y="394"/>
                    <a:pt x="388" y="393"/>
                  </a:cubicBezTo>
                  <a:cubicBezTo>
                    <a:pt x="392" y="391"/>
                    <a:pt x="394" y="388"/>
                    <a:pt x="394" y="384"/>
                  </a:cubicBezTo>
                  <a:lnTo>
                    <a:pt x="394" y="197"/>
                  </a:ln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74D4CF3D-94D8-4380-8093-9FF691E129F8}"/>
              </a:ext>
            </a:extLst>
          </p:cNvPr>
          <p:cNvGrpSpPr/>
          <p:nvPr/>
        </p:nvGrpSpPr>
        <p:grpSpPr>
          <a:xfrm>
            <a:off x="8984272" y="1971778"/>
            <a:ext cx="360000" cy="1811435"/>
            <a:chOff x="8985642" y="1814415"/>
            <a:chExt cx="360000" cy="1811435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52FAA59-FC70-48B8-B900-38B1D4297F5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165642" y="2149124"/>
              <a:ext cx="0" cy="147672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Freeform 420">
              <a:extLst>
                <a:ext uri="{FF2B5EF4-FFF2-40B4-BE49-F238E27FC236}">
                  <a16:creationId xmlns:a16="http://schemas.microsoft.com/office/drawing/2014/main" id="{75381F21-E69E-4636-864D-F350D9DFCE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85642" y="1814415"/>
              <a:ext cx="360000" cy="360000"/>
            </a:xfrm>
            <a:custGeom>
              <a:avLst/>
              <a:gdLst>
                <a:gd name="T0" fmla="*/ 117 w 512"/>
                <a:gd name="T1" fmla="*/ 170 h 512"/>
                <a:gd name="T2" fmla="*/ 394 w 512"/>
                <a:gd name="T3" fmla="*/ 170 h 512"/>
                <a:gd name="T4" fmla="*/ 394 w 512"/>
                <a:gd name="T5" fmla="*/ 341 h 512"/>
                <a:gd name="T6" fmla="*/ 117 w 512"/>
                <a:gd name="T7" fmla="*/ 341 h 512"/>
                <a:gd name="T8" fmla="*/ 117 w 512"/>
                <a:gd name="T9" fmla="*/ 170 h 512"/>
                <a:gd name="T10" fmla="*/ 512 w 512"/>
                <a:gd name="T11" fmla="*/ 256 h 512"/>
                <a:gd name="T12" fmla="*/ 256 w 512"/>
                <a:gd name="T13" fmla="*/ 512 h 512"/>
                <a:gd name="T14" fmla="*/ 0 w 512"/>
                <a:gd name="T15" fmla="*/ 256 h 512"/>
                <a:gd name="T16" fmla="*/ 256 w 512"/>
                <a:gd name="T17" fmla="*/ 0 h 512"/>
                <a:gd name="T18" fmla="*/ 512 w 512"/>
                <a:gd name="T19" fmla="*/ 256 h 512"/>
                <a:gd name="T20" fmla="*/ 416 w 512"/>
                <a:gd name="T21" fmla="*/ 160 h 512"/>
                <a:gd name="T22" fmla="*/ 405 w 512"/>
                <a:gd name="T23" fmla="*/ 149 h 512"/>
                <a:gd name="T24" fmla="*/ 106 w 512"/>
                <a:gd name="T25" fmla="*/ 149 h 512"/>
                <a:gd name="T26" fmla="*/ 96 w 512"/>
                <a:gd name="T27" fmla="*/ 160 h 512"/>
                <a:gd name="T28" fmla="*/ 96 w 512"/>
                <a:gd name="T29" fmla="*/ 352 h 512"/>
                <a:gd name="T30" fmla="*/ 106 w 512"/>
                <a:gd name="T31" fmla="*/ 362 h 512"/>
                <a:gd name="T32" fmla="*/ 192 w 512"/>
                <a:gd name="T33" fmla="*/ 362 h 512"/>
                <a:gd name="T34" fmla="*/ 181 w 512"/>
                <a:gd name="T35" fmla="*/ 373 h 512"/>
                <a:gd name="T36" fmla="*/ 192 w 512"/>
                <a:gd name="T37" fmla="*/ 384 h 512"/>
                <a:gd name="T38" fmla="*/ 320 w 512"/>
                <a:gd name="T39" fmla="*/ 384 h 512"/>
                <a:gd name="T40" fmla="*/ 330 w 512"/>
                <a:gd name="T41" fmla="*/ 373 h 512"/>
                <a:gd name="T42" fmla="*/ 320 w 512"/>
                <a:gd name="T43" fmla="*/ 362 h 512"/>
                <a:gd name="T44" fmla="*/ 405 w 512"/>
                <a:gd name="T45" fmla="*/ 362 h 512"/>
                <a:gd name="T46" fmla="*/ 416 w 512"/>
                <a:gd name="T47" fmla="*/ 352 h 512"/>
                <a:gd name="T48" fmla="*/ 416 w 512"/>
                <a:gd name="T49" fmla="*/ 16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2" h="512">
                  <a:moveTo>
                    <a:pt x="117" y="170"/>
                  </a:moveTo>
                  <a:cubicBezTo>
                    <a:pt x="394" y="170"/>
                    <a:pt x="394" y="170"/>
                    <a:pt x="394" y="170"/>
                  </a:cubicBezTo>
                  <a:cubicBezTo>
                    <a:pt x="394" y="341"/>
                    <a:pt x="394" y="341"/>
                    <a:pt x="394" y="341"/>
                  </a:cubicBezTo>
                  <a:cubicBezTo>
                    <a:pt x="117" y="341"/>
                    <a:pt x="117" y="341"/>
                    <a:pt x="117" y="341"/>
                  </a:cubicBezTo>
                  <a:lnTo>
                    <a:pt x="117" y="170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160"/>
                  </a:moveTo>
                  <a:cubicBezTo>
                    <a:pt x="416" y="154"/>
                    <a:pt x="411" y="149"/>
                    <a:pt x="405" y="149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0" y="149"/>
                    <a:pt x="96" y="154"/>
                    <a:pt x="96" y="160"/>
                  </a:cubicBezTo>
                  <a:cubicBezTo>
                    <a:pt x="96" y="352"/>
                    <a:pt x="96" y="352"/>
                    <a:pt x="96" y="352"/>
                  </a:cubicBezTo>
                  <a:cubicBezTo>
                    <a:pt x="96" y="358"/>
                    <a:pt x="100" y="362"/>
                    <a:pt x="106" y="362"/>
                  </a:cubicBezTo>
                  <a:cubicBezTo>
                    <a:pt x="192" y="362"/>
                    <a:pt x="192" y="362"/>
                    <a:pt x="192" y="362"/>
                  </a:cubicBezTo>
                  <a:cubicBezTo>
                    <a:pt x="186" y="362"/>
                    <a:pt x="181" y="367"/>
                    <a:pt x="181" y="373"/>
                  </a:cubicBezTo>
                  <a:cubicBezTo>
                    <a:pt x="181" y="379"/>
                    <a:pt x="186" y="384"/>
                    <a:pt x="192" y="384"/>
                  </a:cubicBezTo>
                  <a:cubicBezTo>
                    <a:pt x="320" y="384"/>
                    <a:pt x="320" y="384"/>
                    <a:pt x="320" y="384"/>
                  </a:cubicBezTo>
                  <a:cubicBezTo>
                    <a:pt x="326" y="384"/>
                    <a:pt x="330" y="379"/>
                    <a:pt x="330" y="373"/>
                  </a:cubicBezTo>
                  <a:cubicBezTo>
                    <a:pt x="330" y="367"/>
                    <a:pt x="326" y="362"/>
                    <a:pt x="320" y="362"/>
                  </a:cubicBezTo>
                  <a:cubicBezTo>
                    <a:pt x="405" y="362"/>
                    <a:pt x="405" y="362"/>
                    <a:pt x="405" y="362"/>
                  </a:cubicBezTo>
                  <a:cubicBezTo>
                    <a:pt x="411" y="362"/>
                    <a:pt x="416" y="358"/>
                    <a:pt x="416" y="352"/>
                  </a:cubicBezTo>
                  <a:lnTo>
                    <a:pt x="416" y="160"/>
                  </a:ln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F3FBA98-692F-413D-BDFD-D3A98DD225C2}"/>
              </a:ext>
            </a:extLst>
          </p:cNvPr>
          <p:cNvGrpSpPr/>
          <p:nvPr/>
        </p:nvGrpSpPr>
        <p:grpSpPr>
          <a:xfrm>
            <a:off x="2847730" y="1952439"/>
            <a:ext cx="360000" cy="859224"/>
            <a:chOff x="2853216" y="1795076"/>
            <a:chExt cx="360000" cy="859224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6445F64-E463-42FB-B42C-B4420B8DA3D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33216" y="2149124"/>
              <a:ext cx="0" cy="505176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8DA20C4-0EC2-450E-8A7C-5EFF10519ECA}"/>
                </a:ext>
              </a:extLst>
            </p:cNvPr>
            <p:cNvGrpSpPr/>
            <p:nvPr/>
          </p:nvGrpSpPr>
          <p:grpSpPr>
            <a:xfrm>
              <a:off x="2853216" y="1795076"/>
              <a:ext cx="360000" cy="360000"/>
              <a:chOff x="4406900" y="3073400"/>
              <a:chExt cx="720725" cy="727075"/>
            </a:xfrm>
            <a:solidFill>
              <a:schemeClr val="accent3"/>
            </a:solidFill>
          </p:grpSpPr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7876C2B7-6833-415D-B47E-53A940F96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9025" y="3317875"/>
                <a:ext cx="33338" cy="169863"/>
              </a:xfrm>
              <a:custGeom>
                <a:avLst/>
                <a:gdLst>
                  <a:gd name="T0" fmla="*/ 0 w 34"/>
                  <a:gd name="T1" fmla="*/ 0 h 174"/>
                  <a:gd name="T2" fmla="*/ 0 w 34"/>
                  <a:gd name="T3" fmla="*/ 0 h 174"/>
                  <a:gd name="T4" fmla="*/ 34 w 34"/>
                  <a:gd name="T5" fmla="*/ 0 h 174"/>
                  <a:gd name="T6" fmla="*/ 34 w 34"/>
                  <a:gd name="T7" fmla="*/ 174 h 174"/>
                  <a:gd name="T8" fmla="*/ 0 w 34"/>
                  <a:gd name="T9" fmla="*/ 174 h 174"/>
                  <a:gd name="T10" fmla="*/ 0 w 34"/>
                  <a:gd name="T11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174">
                    <a:moveTo>
                      <a:pt x="0" y="0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74"/>
                    </a:lnTo>
                    <a:lnTo>
                      <a:pt x="0" y="17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B253B19B-AA2E-4C17-8458-A0779D3732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68825" y="3284538"/>
                <a:ext cx="100013" cy="292100"/>
              </a:xfrm>
              <a:custGeom>
                <a:avLst/>
                <a:gdLst>
                  <a:gd name="T0" fmla="*/ 3 w 104"/>
                  <a:gd name="T1" fmla="*/ 0 h 301"/>
                  <a:gd name="T2" fmla="*/ 3 w 104"/>
                  <a:gd name="T3" fmla="*/ 0 h 301"/>
                  <a:gd name="T4" fmla="*/ 0 w 104"/>
                  <a:gd name="T5" fmla="*/ 0 h 301"/>
                  <a:gd name="T6" fmla="*/ 0 w 104"/>
                  <a:gd name="T7" fmla="*/ 301 h 301"/>
                  <a:gd name="T8" fmla="*/ 102 w 104"/>
                  <a:gd name="T9" fmla="*/ 301 h 301"/>
                  <a:gd name="T10" fmla="*/ 104 w 104"/>
                  <a:gd name="T11" fmla="*/ 300 h 301"/>
                  <a:gd name="T12" fmla="*/ 104 w 104"/>
                  <a:gd name="T13" fmla="*/ 0 h 301"/>
                  <a:gd name="T14" fmla="*/ 3 w 104"/>
                  <a:gd name="T15" fmla="*/ 0 h 301"/>
                  <a:gd name="T16" fmla="*/ 3 w 104"/>
                  <a:gd name="T17" fmla="*/ 0 h 301"/>
                  <a:gd name="T18" fmla="*/ 52 w 104"/>
                  <a:gd name="T19" fmla="*/ 278 h 301"/>
                  <a:gd name="T20" fmla="*/ 52 w 104"/>
                  <a:gd name="T21" fmla="*/ 278 h 301"/>
                  <a:gd name="T22" fmla="*/ 40 w 104"/>
                  <a:gd name="T23" fmla="*/ 266 h 301"/>
                  <a:gd name="T24" fmla="*/ 52 w 104"/>
                  <a:gd name="T25" fmla="*/ 254 h 301"/>
                  <a:gd name="T26" fmla="*/ 64 w 104"/>
                  <a:gd name="T27" fmla="*/ 266 h 301"/>
                  <a:gd name="T28" fmla="*/ 52 w 104"/>
                  <a:gd name="T29" fmla="*/ 278 h 301"/>
                  <a:gd name="T30" fmla="*/ 92 w 104"/>
                  <a:gd name="T31" fmla="*/ 220 h 301"/>
                  <a:gd name="T32" fmla="*/ 92 w 104"/>
                  <a:gd name="T33" fmla="*/ 220 h 301"/>
                  <a:gd name="T34" fmla="*/ 80 w 104"/>
                  <a:gd name="T35" fmla="*/ 232 h 301"/>
                  <a:gd name="T36" fmla="*/ 24 w 104"/>
                  <a:gd name="T37" fmla="*/ 232 h 301"/>
                  <a:gd name="T38" fmla="*/ 12 w 104"/>
                  <a:gd name="T39" fmla="*/ 220 h 301"/>
                  <a:gd name="T40" fmla="*/ 12 w 104"/>
                  <a:gd name="T41" fmla="*/ 23 h 301"/>
                  <a:gd name="T42" fmla="*/ 24 w 104"/>
                  <a:gd name="T43" fmla="*/ 11 h 301"/>
                  <a:gd name="T44" fmla="*/ 80 w 104"/>
                  <a:gd name="T45" fmla="*/ 11 h 301"/>
                  <a:gd name="T46" fmla="*/ 92 w 104"/>
                  <a:gd name="T47" fmla="*/ 23 h 301"/>
                  <a:gd name="T48" fmla="*/ 92 w 104"/>
                  <a:gd name="T49" fmla="*/ 22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4" h="301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01"/>
                    </a:lnTo>
                    <a:lnTo>
                      <a:pt x="102" y="301"/>
                    </a:lnTo>
                    <a:cubicBezTo>
                      <a:pt x="103" y="301"/>
                      <a:pt x="104" y="301"/>
                      <a:pt x="104" y="300"/>
                    </a:cubicBezTo>
                    <a:lnTo>
                      <a:pt x="104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  <a:moveTo>
                      <a:pt x="52" y="278"/>
                    </a:moveTo>
                    <a:lnTo>
                      <a:pt x="52" y="278"/>
                    </a:lnTo>
                    <a:cubicBezTo>
                      <a:pt x="46" y="278"/>
                      <a:pt x="40" y="273"/>
                      <a:pt x="40" y="266"/>
                    </a:cubicBezTo>
                    <a:cubicBezTo>
                      <a:pt x="40" y="260"/>
                      <a:pt x="46" y="254"/>
                      <a:pt x="52" y="254"/>
                    </a:cubicBezTo>
                    <a:cubicBezTo>
                      <a:pt x="59" y="254"/>
                      <a:pt x="64" y="260"/>
                      <a:pt x="64" y="266"/>
                    </a:cubicBezTo>
                    <a:cubicBezTo>
                      <a:pt x="64" y="273"/>
                      <a:pt x="59" y="278"/>
                      <a:pt x="52" y="278"/>
                    </a:cubicBezTo>
                    <a:close/>
                    <a:moveTo>
                      <a:pt x="92" y="220"/>
                    </a:moveTo>
                    <a:lnTo>
                      <a:pt x="92" y="220"/>
                    </a:lnTo>
                    <a:cubicBezTo>
                      <a:pt x="92" y="226"/>
                      <a:pt x="86" y="232"/>
                      <a:pt x="80" y="232"/>
                    </a:cubicBezTo>
                    <a:lnTo>
                      <a:pt x="24" y="232"/>
                    </a:lnTo>
                    <a:cubicBezTo>
                      <a:pt x="18" y="232"/>
                      <a:pt x="12" y="226"/>
                      <a:pt x="12" y="220"/>
                    </a:cubicBezTo>
                    <a:lnTo>
                      <a:pt x="12" y="23"/>
                    </a:lnTo>
                    <a:cubicBezTo>
                      <a:pt x="12" y="17"/>
                      <a:pt x="18" y="11"/>
                      <a:pt x="24" y="11"/>
                    </a:cubicBezTo>
                    <a:lnTo>
                      <a:pt x="80" y="11"/>
                    </a:lnTo>
                    <a:cubicBezTo>
                      <a:pt x="86" y="11"/>
                      <a:pt x="92" y="17"/>
                      <a:pt x="92" y="23"/>
                    </a:cubicBezTo>
                    <a:lnTo>
                      <a:pt x="92" y="22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B48603B5-8791-47C8-A196-1960432438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317875"/>
                <a:ext cx="31750" cy="169863"/>
              </a:xfrm>
              <a:custGeom>
                <a:avLst/>
                <a:gdLst>
                  <a:gd name="T0" fmla="*/ 0 w 33"/>
                  <a:gd name="T1" fmla="*/ 0 h 174"/>
                  <a:gd name="T2" fmla="*/ 0 w 33"/>
                  <a:gd name="T3" fmla="*/ 0 h 174"/>
                  <a:gd name="T4" fmla="*/ 33 w 33"/>
                  <a:gd name="T5" fmla="*/ 0 h 174"/>
                  <a:gd name="T6" fmla="*/ 33 w 33"/>
                  <a:gd name="T7" fmla="*/ 174 h 174"/>
                  <a:gd name="T8" fmla="*/ 0 w 33"/>
                  <a:gd name="T9" fmla="*/ 174 h 174"/>
                  <a:gd name="T10" fmla="*/ 0 w 33"/>
                  <a:gd name="T11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174">
                    <a:moveTo>
                      <a:pt x="0" y="0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74"/>
                    </a:lnTo>
                    <a:lnTo>
                      <a:pt x="0" y="17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BF1C2D9D-4D07-4F09-8CE3-C8EEFF5319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16463" y="3284538"/>
                <a:ext cx="98425" cy="292100"/>
              </a:xfrm>
              <a:custGeom>
                <a:avLst/>
                <a:gdLst>
                  <a:gd name="T0" fmla="*/ 2 w 103"/>
                  <a:gd name="T1" fmla="*/ 0 h 301"/>
                  <a:gd name="T2" fmla="*/ 2 w 103"/>
                  <a:gd name="T3" fmla="*/ 0 h 301"/>
                  <a:gd name="T4" fmla="*/ 0 w 103"/>
                  <a:gd name="T5" fmla="*/ 0 h 301"/>
                  <a:gd name="T6" fmla="*/ 0 w 103"/>
                  <a:gd name="T7" fmla="*/ 301 h 301"/>
                  <a:gd name="T8" fmla="*/ 101 w 103"/>
                  <a:gd name="T9" fmla="*/ 301 h 301"/>
                  <a:gd name="T10" fmla="*/ 103 w 103"/>
                  <a:gd name="T11" fmla="*/ 300 h 301"/>
                  <a:gd name="T12" fmla="*/ 103 w 103"/>
                  <a:gd name="T13" fmla="*/ 0 h 301"/>
                  <a:gd name="T14" fmla="*/ 2 w 103"/>
                  <a:gd name="T15" fmla="*/ 0 h 301"/>
                  <a:gd name="T16" fmla="*/ 2 w 103"/>
                  <a:gd name="T17" fmla="*/ 0 h 301"/>
                  <a:gd name="T18" fmla="*/ 52 w 103"/>
                  <a:gd name="T19" fmla="*/ 278 h 301"/>
                  <a:gd name="T20" fmla="*/ 52 w 103"/>
                  <a:gd name="T21" fmla="*/ 278 h 301"/>
                  <a:gd name="T22" fmla="*/ 40 w 103"/>
                  <a:gd name="T23" fmla="*/ 266 h 301"/>
                  <a:gd name="T24" fmla="*/ 52 w 103"/>
                  <a:gd name="T25" fmla="*/ 254 h 301"/>
                  <a:gd name="T26" fmla="*/ 64 w 103"/>
                  <a:gd name="T27" fmla="*/ 266 h 301"/>
                  <a:gd name="T28" fmla="*/ 52 w 103"/>
                  <a:gd name="T29" fmla="*/ 278 h 301"/>
                  <a:gd name="T30" fmla="*/ 91 w 103"/>
                  <a:gd name="T31" fmla="*/ 220 h 301"/>
                  <a:gd name="T32" fmla="*/ 91 w 103"/>
                  <a:gd name="T33" fmla="*/ 220 h 301"/>
                  <a:gd name="T34" fmla="*/ 79 w 103"/>
                  <a:gd name="T35" fmla="*/ 232 h 301"/>
                  <a:gd name="T36" fmla="*/ 24 w 103"/>
                  <a:gd name="T37" fmla="*/ 232 h 301"/>
                  <a:gd name="T38" fmla="*/ 12 w 103"/>
                  <a:gd name="T39" fmla="*/ 220 h 301"/>
                  <a:gd name="T40" fmla="*/ 12 w 103"/>
                  <a:gd name="T41" fmla="*/ 23 h 301"/>
                  <a:gd name="T42" fmla="*/ 24 w 103"/>
                  <a:gd name="T43" fmla="*/ 11 h 301"/>
                  <a:gd name="T44" fmla="*/ 79 w 103"/>
                  <a:gd name="T45" fmla="*/ 11 h 301"/>
                  <a:gd name="T46" fmla="*/ 91 w 103"/>
                  <a:gd name="T47" fmla="*/ 23 h 301"/>
                  <a:gd name="T48" fmla="*/ 91 w 103"/>
                  <a:gd name="T49" fmla="*/ 22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3" h="301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01"/>
                    </a:lnTo>
                    <a:lnTo>
                      <a:pt x="101" y="301"/>
                    </a:lnTo>
                    <a:cubicBezTo>
                      <a:pt x="102" y="301"/>
                      <a:pt x="103" y="301"/>
                      <a:pt x="103" y="300"/>
                    </a:cubicBezTo>
                    <a:lnTo>
                      <a:pt x="103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  <a:moveTo>
                      <a:pt x="52" y="278"/>
                    </a:moveTo>
                    <a:lnTo>
                      <a:pt x="52" y="278"/>
                    </a:lnTo>
                    <a:cubicBezTo>
                      <a:pt x="45" y="278"/>
                      <a:pt x="40" y="273"/>
                      <a:pt x="40" y="266"/>
                    </a:cubicBezTo>
                    <a:cubicBezTo>
                      <a:pt x="40" y="260"/>
                      <a:pt x="45" y="254"/>
                      <a:pt x="52" y="254"/>
                    </a:cubicBezTo>
                    <a:cubicBezTo>
                      <a:pt x="58" y="254"/>
                      <a:pt x="64" y="260"/>
                      <a:pt x="64" y="266"/>
                    </a:cubicBezTo>
                    <a:cubicBezTo>
                      <a:pt x="64" y="273"/>
                      <a:pt x="58" y="278"/>
                      <a:pt x="52" y="278"/>
                    </a:cubicBezTo>
                    <a:close/>
                    <a:moveTo>
                      <a:pt x="91" y="220"/>
                    </a:moveTo>
                    <a:lnTo>
                      <a:pt x="91" y="220"/>
                    </a:lnTo>
                    <a:cubicBezTo>
                      <a:pt x="91" y="226"/>
                      <a:pt x="86" y="232"/>
                      <a:pt x="79" y="232"/>
                    </a:cubicBezTo>
                    <a:lnTo>
                      <a:pt x="24" y="232"/>
                    </a:lnTo>
                    <a:cubicBezTo>
                      <a:pt x="17" y="232"/>
                      <a:pt x="12" y="226"/>
                      <a:pt x="12" y="220"/>
                    </a:cubicBezTo>
                    <a:lnTo>
                      <a:pt x="12" y="23"/>
                    </a:lnTo>
                    <a:cubicBezTo>
                      <a:pt x="12" y="17"/>
                      <a:pt x="17" y="11"/>
                      <a:pt x="24" y="11"/>
                    </a:cubicBezTo>
                    <a:lnTo>
                      <a:pt x="79" y="11"/>
                    </a:lnTo>
                    <a:cubicBezTo>
                      <a:pt x="86" y="11"/>
                      <a:pt x="91" y="17"/>
                      <a:pt x="91" y="23"/>
                    </a:cubicBezTo>
                    <a:lnTo>
                      <a:pt x="91" y="22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5" name="Freeform 13">
                <a:extLst>
                  <a:ext uri="{FF2B5EF4-FFF2-40B4-BE49-F238E27FC236}">
                    <a16:creationId xmlns:a16="http://schemas.microsoft.com/office/drawing/2014/main" id="{7B0E86BE-0FA8-47DE-B327-0BA6B6CDDA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5688" y="3284538"/>
                <a:ext cx="100013" cy="292100"/>
              </a:xfrm>
              <a:custGeom>
                <a:avLst/>
                <a:gdLst>
                  <a:gd name="T0" fmla="*/ 2 w 104"/>
                  <a:gd name="T1" fmla="*/ 0 h 301"/>
                  <a:gd name="T2" fmla="*/ 2 w 104"/>
                  <a:gd name="T3" fmla="*/ 0 h 301"/>
                  <a:gd name="T4" fmla="*/ 0 w 104"/>
                  <a:gd name="T5" fmla="*/ 0 h 301"/>
                  <a:gd name="T6" fmla="*/ 0 w 104"/>
                  <a:gd name="T7" fmla="*/ 301 h 301"/>
                  <a:gd name="T8" fmla="*/ 102 w 104"/>
                  <a:gd name="T9" fmla="*/ 301 h 301"/>
                  <a:gd name="T10" fmla="*/ 104 w 104"/>
                  <a:gd name="T11" fmla="*/ 300 h 301"/>
                  <a:gd name="T12" fmla="*/ 104 w 104"/>
                  <a:gd name="T13" fmla="*/ 0 h 301"/>
                  <a:gd name="T14" fmla="*/ 2 w 104"/>
                  <a:gd name="T15" fmla="*/ 0 h 301"/>
                  <a:gd name="T16" fmla="*/ 2 w 104"/>
                  <a:gd name="T17" fmla="*/ 0 h 301"/>
                  <a:gd name="T18" fmla="*/ 52 w 104"/>
                  <a:gd name="T19" fmla="*/ 278 h 301"/>
                  <a:gd name="T20" fmla="*/ 52 w 104"/>
                  <a:gd name="T21" fmla="*/ 278 h 301"/>
                  <a:gd name="T22" fmla="*/ 40 w 104"/>
                  <a:gd name="T23" fmla="*/ 266 h 301"/>
                  <a:gd name="T24" fmla="*/ 52 w 104"/>
                  <a:gd name="T25" fmla="*/ 254 h 301"/>
                  <a:gd name="T26" fmla="*/ 64 w 104"/>
                  <a:gd name="T27" fmla="*/ 266 h 301"/>
                  <a:gd name="T28" fmla="*/ 52 w 104"/>
                  <a:gd name="T29" fmla="*/ 278 h 301"/>
                  <a:gd name="T30" fmla="*/ 92 w 104"/>
                  <a:gd name="T31" fmla="*/ 220 h 301"/>
                  <a:gd name="T32" fmla="*/ 92 w 104"/>
                  <a:gd name="T33" fmla="*/ 220 h 301"/>
                  <a:gd name="T34" fmla="*/ 80 w 104"/>
                  <a:gd name="T35" fmla="*/ 232 h 301"/>
                  <a:gd name="T36" fmla="*/ 24 w 104"/>
                  <a:gd name="T37" fmla="*/ 232 h 301"/>
                  <a:gd name="T38" fmla="*/ 12 w 104"/>
                  <a:gd name="T39" fmla="*/ 220 h 301"/>
                  <a:gd name="T40" fmla="*/ 12 w 104"/>
                  <a:gd name="T41" fmla="*/ 23 h 301"/>
                  <a:gd name="T42" fmla="*/ 24 w 104"/>
                  <a:gd name="T43" fmla="*/ 11 h 301"/>
                  <a:gd name="T44" fmla="*/ 80 w 104"/>
                  <a:gd name="T45" fmla="*/ 11 h 301"/>
                  <a:gd name="T46" fmla="*/ 92 w 104"/>
                  <a:gd name="T47" fmla="*/ 23 h 301"/>
                  <a:gd name="T48" fmla="*/ 92 w 104"/>
                  <a:gd name="T49" fmla="*/ 22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4" h="301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01"/>
                    </a:lnTo>
                    <a:lnTo>
                      <a:pt x="102" y="301"/>
                    </a:lnTo>
                    <a:cubicBezTo>
                      <a:pt x="102" y="301"/>
                      <a:pt x="104" y="301"/>
                      <a:pt x="104" y="300"/>
                    </a:cubicBezTo>
                    <a:lnTo>
                      <a:pt x="104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  <a:moveTo>
                      <a:pt x="52" y="278"/>
                    </a:moveTo>
                    <a:lnTo>
                      <a:pt x="52" y="278"/>
                    </a:lnTo>
                    <a:cubicBezTo>
                      <a:pt x="45" y="278"/>
                      <a:pt x="40" y="273"/>
                      <a:pt x="40" y="266"/>
                    </a:cubicBezTo>
                    <a:cubicBezTo>
                      <a:pt x="40" y="260"/>
                      <a:pt x="45" y="254"/>
                      <a:pt x="52" y="254"/>
                    </a:cubicBezTo>
                    <a:cubicBezTo>
                      <a:pt x="59" y="254"/>
                      <a:pt x="64" y="260"/>
                      <a:pt x="64" y="266"/>
                    </a:cubicBezTo>
                    <a:cubicBezTo>
                      <a:pt x="64" y="273"/>
                      <a:pt x="59" y="278"/>
                      <a:pt x="52" y="278"/>
                    </a:cubicBezTo>
                    <a:close/>
                    <a:moveTo>
                      <a:pt x="92" y="220"/>
                    </a:moveTo>
                    <a:lnTo>
                      <a:pt x="92" y="220"/>
                    </a:lnTo>
                    <a:cubicBezTo>
                      <a:pt x="92" y="226"/>
                      <a:pt x="86" y="232"/>
                      <a:pt x="80" y="232"/>
                    </a:cubicBezTo>
                    <a:lnTo>
                      <a:pt x="24" y="232"/>
                    </a:lnTo>
                    <a:cubicBezTo>
                      <a:pt x="18" y="232"/>
                      <a:pt x="12" y="226"/>
                      <a:pt x="12" y="220"/>
                    </a:cubicBezTo>
                    <a:lnTo>
                      <a:pt x="12" y="23"/>
                    </a:lnTo>
                    <a:cubicBezTo>
                      <a:pt x="12" y="17"/>
                      <a:pt x="18" y="11"/>
                      <a:pt x="24" y="11"/>
                    </a:cubicBezTo>
                    <a:lnTo>
                      <a:pt x="80" y="11"/>
                    </a:lnTo>
                    <a:cubicBezTo>
                      <a:pt x="86" y="11"/>
                      <a:pt x="92" y="17"/>
                      <a:pt x="92" y="23"/>
                    </a:cubicBezTo>
                    <a:lnTo>
                      <a:pt x="92" y="22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6" name="Freeform 14">
                <a:extLst>
                  <a:ext uri="{FF2B5EF4-FFF2-40B4-BE49-F238E27FC236}">
                    <a16:creationId xmlns:a16="http://schemas.microsoft.com/office/drawing/2014/main" id="{6D645D2B-CF0F-4C42-AB49-32348506F9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06900" y="3073400"/>
                <a:ext cx="720725" cy="727075"/>
              </a:xfrm>
              <a:custGeom>
                <a:avLst/>
                <a:gdLst>
                  <a:gd name="T0" fmla="*/ 377 w 754"/>
                  <a:gd name="T1" fmla="*/ 0 h 752"/>
                  <a:gd name="T2" fmla="*/ 377 w 754"/>
                  <a:gd name="T3" fmla="*/ 0 h 752"/>
                  <a:gd name="T4" fmla="*/ 0 w 754"/>
                  <a:gd name="T5" fmla="*/ 376 h 752"/>
                  <a:gd name="T6" fmla="*/ 377 w 754"/>
                  <a:gd name="T7" fmla="*/ 752 h 752"/>
                  <a:gd name="T8" fmla="*/ 754 w 754"/>
                  <a:gd name="T9" fmla="*/ 376 h 752"/>
                  <a:gd name="T10" fmla="*/ 377 w 754"/>
                  <a:gd name="T11" fmla="*/ 0 h 752"/>
                  <a:gd name="T12" fmla="*/ 296 w 754"/>
                  <a:gd name="T13" fmla="*/ 520 h 752"/>
                  <a:gd name="T14" fmla="*/ 296 w 754"/>
                  <a:gd name="T15" fmla="*/ 520 h 752"/>
                  <a:gd name="T16" fmla="*/ 271 w 754"/>
                  <a:gd name="T17" fmla="*/ 543 h 752"/>
                  <a:gd name="T18" fmla="*/ 172 w 754"/>
                  <a:gd name="T19" fmla="*/ 543 h 752"/>
                  <a:gd name="T20" fmla="*/ 147 w 754"/>
                  <a:gd name="T21" fmla="*/ 520 h 752"/>
                  <a:gd name="T22" fmla="*/ 147 w 754"/>
                  <a:gd name="T23" fmla="*/ 219 h 752"/>
                  <a:gd name="T24" fmla="*/ 172 w 754"/>
                  <a:gd name="T25" fmla="*/ 195 h 752"/>
                  <a:gd name="T26" fmla="*/ 271 w 754"/>
                  <a:gd name="T27" fmla="*/ 195 h 752"/>
                  <a:gd name="T28" fmla="*/ 296 w 754"/>
                  <a:gd name="T29" fmla="*/ 219 h 752"/>
                  <a:gd name="T30" fmla="*/ 296 w 754"/>
                  <a:gd name="T31" fmla="*/ 520 h 752"/>
                  <a:gd name="T32" fmla="*/ 296 w 754"/>
                  <a:gd name="T33" fmla="*/ 520 h 752"/>
                  <a:gd name="T34" fmla="*/ 450 w 754"/>
                  <a:gd name="T35" fmla="*/ 520 h 752"/>
                  <a:gd name="T36" fmla="*/ 450 w 754"/>
                  <a:gd name="T37" fmla="*/ 520 h 752"/>
                  <a:gd name="T38" fmla="*/ 425 w 754"/>
                  <a:gd name="T39" fmla="*/ 543 h 752"/>
                  <a:gd name="T40" fmla="*/ 326 w 754"/>
                  <a:gd name="T41" fmla="*/ 543 h 752"/>
                  <a:gd name="T42" fmla="*/ 301 w 754"/>
                  <a:gd name="T43" fmla="*/ 520 h 752"/>
                  <a:gd name="T44" fmla="*/ 301 w 754"/>
                  <a:gd name="T45" fmla="*/ 219 h 752"/>
                  <a:gd name="T46" fmla="*/ 326 w 754"/>
                  <a:gd name="T47" fmla="*/ 195 h 752"/>
                  <a:gd name="T48" fmla="*/ 425 w 754"/>
                  <a:gd name="T49" fmla="*/ 195 h 752"/>
                  <a:gd name="T50" fmla="*/ 450 w 754"/>
                  <a:gd name="T51" fmla="*/ 219 h 752"/>
                  <a:gd name="T52" fmla="*/ 450 w 754"/>
                  <a:gd name="T53" fmla="*/ 520 h 752"/>
                  <a:gd name="T54" fmla="*/ 450 w 754"/>
                  <a:gd name="T55" fmla="*/ 520 h 752"/>
                  <a:gd name="T56" fmla="*/ 606 w 754"/>
                  <a:gd name="T57" fmla="*/ 520 h 752"/>
                  <a:gd name="T58" fmla="*/ 606 w 754"/>
                  <a:gd name="T59" fmla="*/ 520 h 752"/>
                  <a:gd name="T60" fmla="*/ 582 w 754"/>
                  <a:gd name="T61" fmla="*/ 543 h 752"/>
                  <a:gd name="T62" fmla="*/ 482 w 754"/>
                  <a:gd name="T63" fmla="*/ 543 h 752"/>
                  <a:gd name="T64" fmla="*/ 457 w 754"/>
                  <a:gd name="T65" fmla="*/ 520 h 752"/>
                  <a:gd name="T66" fmla="*/ 457 w 754"/>
                  <a:gd name="T67" fmla="*/ 219 h 752"/>
                  <a:gd name="T68" fmla="*/ 482 w 754"/>
                  <a:gd name="T69" fmla="*/ 195 h 752"/>
                  <a:gd name="T70" fmla="*/ 582 w 754"/>
                  <a:gd name="T71" fmla="*/ 195 h 752"/>
                  <a:gd name="T72" fmla="*/ 606 w 754"/>
                  <a:gd name="T73" fmla="*/ 219 h 752"/>
                  <a:gd name="T74" fmla="*/ 606 w 754"/>
                  <a:gd name="T75" fmla="*/ 52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54" h="752">
                    <a:moveTo>
                      <a:pt x="377" y="0"/>
                    </a:moveTo>
                    <a:lnTo>
                      <a:pt x="377" y="0"/>
                    </a:lnTo>
                    <a:cubicBezTo>
                      <a:pt x="169" y="0"/>
                      <a:pt x="0" y="169"/>
                      <a:pt x="0" y="376"/>
                    </a:cubicBezTo>
                    <a:cubicBezTo>
                      <a:pt x="0" y="584"/>
                      <a:pt x="169" y="752"/>
                      <a:pt x="377" y="752"/>
                    </a:cubicBezTo>
                    <a:cubicBezTo>
                      <a:pt x="584" y="752"/>
                      <a:pt x="754" y="584"/>
                      <a:pt x="754" y="376"/>
                    </a:cubicBezTo>
                    <a:cubicBezTo>
                      <a:pt x="754" y="169"/>
                      <a:pt x="584" y="0"/>
                      <a:pt x="377" y="0"/>
                    </a:cubicBezTo>
                    <a:close/>
                    <a:moveTo>
                      <a:pt x="296" y="520"/>
                    </a:moveTo>
                    <a:lnTo>
                      <a:pt x="296" y="520"/>
                    </a:lnTo>
                    <a:cubicBezTo>
                      <a:pt x="296" y="533"/>
                      <a:pt x="285" y="543"/>
                      <a:pt x="271" y="543"/>
                    </a:cubicBezTo>
                    <a:lnTo>
                      <a:pt x="172" y="543"/>
                    </a:lnTo>
                    <a:cubicBezTo>
                      <a:pt x="157" y="543"/>
                      <a:pt x="147" y="533"/>
                      <a:pt x="147" y="520"/>
                    </a:cubicBezTo>
                    <a:lnTo>
                      <a:pt x="147" y="219"/>
                    </a:lnTo>
                    <a:cubicBezTo>
                      <a:pt x="147" y="206"/>
                      <a:pt x="157" y="195"/>
                      <a:pt x="172" y="195"/>
                    </a:cubicBezTo>
                    <a:lnTo>
                      <a:pt x="271" y="195"/>
                    </a:lnTo>
                    <a:cubicBezTo>
                      <a:pt x="285" y="195"/>
                      <a:pt x="296" y="206"/>
                      <a:pt x="296" y="219"/>
                    </a:cubicBezTo>
                    <a:lnTo>
                      <a:pt x="296" y="520"/>
                    </a:lnTo>
                    <a:lnTo>
                      <a:pt x="296" y="520"/>
                    </a:lnTo>
                    <a:close/>
                    <a:moveTo>
                      <a:pt x="450" y="520"/>
                    </a:moveTo>
                    <a:lnTo>
                      <a:pt x="450" y="520"/>
                    </a:lnTo>
                    <a:cubicBezTo>
                      <a:pt x="450" y="533"/>
                      <a:pt x="439" y="543"/>
                      <a:pt x="425" y="543"/>
                    </a:cubicBezTo>
                    <a:lnTo>
                      <a:pt x="326" y="543"/>
                    </a:lnTo>
                    <a:cubicBezTo>
                      <a:pt x="312" y="543"/>
                      <a:pt x="301" y="533"/>
                      <a:pt x="301" y="520"/>
                    </a:cubicBezTo>
                    <a:lnTo>
                      <a:pt x="301" y="219"/>
                    </a:lnTo>
                    <a:cubicBezTo>
                      <a:pt x="301" y="206"/>
                      <a:pt x="312" y="195"/>
                      <a:pt x="326" y="195"/>
                    </a:cubicBezTo>
                    <a:lnTo>
                      <a:pt x="425" y="195"/>
                    </a:lnTo>
                    <a:cubicBezTo>
                      <a:pt x="439" y="195"/>
                      <a:pt x="450" y="206"/>
                      <a:pt x="450" y="219"/>
                    </a:cubicBezTo>
                    <a:lnTo>
                      <a:pt x="450" y="520"/>
                    </a:lnTo>
                    <a:lnTo>
                      <a:pt x="450" y="520"/>
                    </a:lnTo>
                    <a:close/>
                    <a:moveTo>
                      <a:pt x="606" y="520"/>
                    </a:moveTo>
                    <a:lnTo>
                      <a:pt x="606" y="520"/>
                    </a:lnTo>
                    <a:cubicBezTo>
                      <a:pt x="606" y="533"/>
                      <a:pt x="596" y="543"/>
                      <a:pt x="582" y="543"/>
                    </a:cubicBezTo>
                    <a:lnTo>
                      <a:pt x="482" y="543"/>
                    </a:lnTo>
                    <a:cubicBezTo>
                      <a:pt x="468" y="543"/>
                      <a:pt x="457" y="533"/>
                      <a:pt x="457" y="520"/>
                    </a:cubicBezTo>
                    <a:lnTo>
                      <a:pt x="457" y="219"/>
                    </a:lnTo>
                    <a:cubicBezTo>
                      <a:pt x="457" y="206"/>
                      <a:pt x="468" y="195"/>
                      <a:pt x="482" y="195"/>
                    </a:cubicBezTo>
                    <a:lnTo>
                      <a:pt x="582" y="195"/>
                    </a:lnTo>
                    <a:cubicBezTo>
                      <a:pt x="596" y="195"/>
                      <a:pt x="606" y="206"/>
                      <a:pt x="606" y="219"/>
                    </a:cubicBezTo>
                    <a:lnTo>
                      <a:pt x="606" y="52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7" name="Freeform 15">
                <a:extLst>
                  <a:ext uri="{FF2B5EF4-FFF2-40B4-BE49-F238E27FC236}">
                    <a16:creationId xmlns:a16="http://schemas.microsoft.com/office/drawing/2014/main" id="{705EF057-25F2-4F98-BC85-D63D13C136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2163" y="3317875"/>
                <a:ext cx="31750" cy="169863"/>
              </a:xfrm>
              <a:custGeom>
                <a:avLst/>
                <a:gdLst>
                  <a:gd name="T0" fmla="*/ 0 w 34"/>
                  <a:gd name="T1" fmla="*/ 0 h 174"/>
                  <a:gd name="T2" fmla="*/ 0 w 34"/>
                  <a:gd name="T3" fmla="*/ 0 h 174"/>
                  <a:gd name="T4" fmla="*/ 34 w 34"/>
                  <a:gd name="T5" fmla="*/ 0 h 174"/>
                  <a:gd name="T6" fmla="*/ 34 w 34"/>
                  <a:gd name="T7" fmla="*/ 174 h 174"/>
                  <a:gd name="T8" fmla="*/ 0 w 34"/>
                  <a:gd name="T9" fmla="*/ 174 h 174"/>
                  <a:gd name="T10" fmla="*/ 0 w 34"/>
                  <a:gd name="T11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174">
                    <a:moveTo>
                      <a:pt x="0" y="0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74"/>
                    </a:lnTo>
                    <a:lnTo>
                      <a:pt x="0" y="17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67B8DFEB-600C-44A6-83E7-7E16236BCEED}"/>
              </a:ext>
            </a:extLst>
          </p:cNvPr>
          <p:cNvGrpSpPr/>
          <p:nvPr/>
        </p:nvGrpSpPr>
        <p:grpSpPr>
          <a:xfrm>
            <a:off x="11029783" y="1971778"/>
            <a:ext cx="360000" cy="554135"/>
            <a:chOff x="11029783" y="1814415"/>
            <a:chExt cx="360000" cy="554135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862038A-7672-4BBC-A1C7-818B837E1DC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1209783" y="2149124"/>
              <a:ext cx="0" cy="21942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Freeform 537">
              <a:extLst>
                <a:ext uri="{FF2B5EF4-FFF2-40B4-BE49-F238E27FC236}">
                  <a16:creationId xmlns:a16="http://schemas.microsoft.com/office/drawing/2014/main" id="{F13D3EC3-35FB-436E-9C53-97B39D71362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029783" y="1814415"/>
              <a:ext cx="360000" cy="360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94 w 512"/>
                <a:gd name="T11" fmla="*/ 384 h 512"/>
                <a:gd name="T12" fmla="*/ 384 w 512"/>
                <a:gd name="T13" fmla="*/ 394 h 512"/>
                <a:gd name="T14" fmla="*/ 128 w 512"/>
                <a:gd name="T15" fmla="*/ 394 h 512"/>
                <a:gd name="T16" fmla="*/ 117 w 512"/>
                <a:gd name="T17" fmla="*/ 384 h 512"/>
                <a:gd name="T18" fmla="*/ 117 w 512"/>
                <a:gd name="T19" fmla="*/ 128 h 512"/>
                <a:gd name="T20" fmla="*/ 128 w 512"/>
                <a:gd name="T21" fmla="*/ 117 h 512"/>
                <a:gd name="T22" fmla="*/ 245 w 512"/>
                <a:gd name="T23" fmla="*/ 117 h 512"/>
                <a:gd name="T24" fmla="*/ 256 w 512"/>
                <a:gd name="T25" fmla="*/ 128 h 512"/>
                <a:gd name="T26" fmla="*/ 245 w 512"/>
                <a:gd name="T27" fmla="*/ 138 h 512"/>
                <a:gd name="T28" fmla="*/ 138 w 512"/>
                <a:gd name="T29" fmla="*/ 138 h 512"/>
                <a:gd name="T30" fmla="*/ 138 w 512"/>
                <a:gd name="T31" fmla="*/ 373 h 512"/>
                <a:gd name="T32" fmla="*/ 373 w 512"/>
                <a:gd name="T33" fmla="*/ 373 h 512"/>
                <a:gd name="T34" fmla="*/ 373 w 512"/>
                <a:gd name="T35" fmla="*/ 266 h 512"/>
                <a:gd name="T36" fmla="*/ 384 w 512"/>
                <a:gd name="T37" fmla="*/ 256 h 512"/>
                <a:gd name="T38" fmla="*/ 394 w 512"/>
                <a:gd name="T39" fmla="*/ 266 h 512"/>
                <a:gd name="T40" fmla="*/ 394 w 512"/>
                <a:gd name="T41" fmla="*/ 384 h 512"/>
                <a:gd name="T42" fmla="*/ 394 w 512"/>
                <a:gd name="T43" fmla="*/ 213 h 512"/>
                <a:gd name="T44" fmla="*/ 384 w 512"/>
                <a:gd name="T45" fmla="*/ 224 h 512"/>
                <a:gd name="T46" fmla="*/ 373 w 512"/>
                <a:gd name="T47" fmla="*/ 213 h 512"/>
                <a:gd name="T48" fmla="*/ 373 w 512"/>
                <a:gd name="T49" fmla="*/ 153 h 512"/>
                <a:gd name="T50" fmla="*/ 263 w 512"/>
                <a:gd name="T51" fmla="*/ 263 h 512"/>
                <a:gd name="T52" fmla="*/ 256 w 512"/>
                <a:gd name="T53" fmla="*/ 266 h 512"/>
                <a:gd name="T54" fmla="*/ 248 w 512"/>
                <a:gd name="T55" fmla="*/ 263 h 512"/>
                <a:gd name="T56" fmla="*/ 248 w 512"/>
                <a:gd name="T57" fmla="*/ 248 h 512"/>
                <a:gd name="T58" fmla="*/ 358 w 512"/>
                <a:gd name="T59" fmla="*/ 138 h 512"/>
                <a:gd name="T60" fmla="*/ 298 w 512"/>
                <a:gd name="T61" fmla="*/ 138 h 512"/>
                <a:gd name="T62" fmla="*/ 288 w 512"/>
                <a:gd name="T63" fmla="*/ 128 h 512"/>
                <a:gd name="T64" fmla="*/ 298 w 512"/>
                <a:gd name="T65" fmla="*/ 117 h 512"/>
                <a:gd name="T66" fmla="*/ 384 w 512"/>
                <a:gd name="T67" fmla="*/ 117 h 512"/>
                <a:gd name="T68" fmla="*/ 388 w 512"/>
                <a:gd name="T69" fmla="*/ 118 h 512"/>
                <a:gd name="T70" fmla="*/ 394 w 512"/>
                <a:gd name="T71" fmla="*/ 124 h 512"/>
                <a:gd name="T72" fmla="*/ 394 w 512"/>
                <a:gd name="T73" fmla="*/ 128 h 512"/>
                <a:gd name="T74" fmla="*/ 394 w 512"/>
                <a:gd name="T75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4" y="384"/>
                  </a:moveTo>
                  <a:cubicBezTo>
                    <a:pt x="394" y="390"/>
                    <a:pt x="390" y="394"/>
                    <a:pt x="384" y="394"/>
                  </a:cubicBezTo>
                  <a:cubicBezTo>
                    <a:pt x="128" y="394"/>
                    <a:pt x="128" y="394"/>
                    <a:pt x="128" y="394"/>
                  </a:cubicBezTo>
                  <a:cubicBezTo>
                    <a:pt x="122" y="394"/>
                    <a:pt x="117" y="390"/>
                    <a:pt x="117" y="384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17" y="122"/>
                    <a:pt x="122" y="117"/>
                    <a:pt x="128" y="117"/>
                  </a:cubicBezTo>
                  <a:cubicBezTo>
                    <a:pt x="245" y="117"/>
                    <a:pt x="245" y="117"/>
                    <a:pt x="245" y="117"/>
                  </a:cubicBezTo>
                  <a:cubicBezTo>
                    <a:pt x="251" y="117"/>
                    <a:pt x="256" y="122"/>
                    <a:pt x="256" y="128"/>
                  </a:cubicBezTo>
                  <a:cubicBezTo>
                    <a:pt x="256" y="134"/>
                    <a:pt x="251" y="138"/>
                    <a:pt x="245" y="138"/>
                  </a:cubicBezTo>
                  <a:cubicBezTo>
                    <a:pt x="138" y="138"/>
                    <a:pt x="138" y="138"/>
                    <a:pt x="138" y="138"/>
                  </a:cubicBezTo>
                  <a:cubicBezTo>
                    <a:pt x="138" y="373"/>
                    <a:pt x="138" y="373"/>
                    <a:pt x="138" y="373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373" y="266"/>
                    <a:pt x="373" y="266"/>
                    <a:pt x="373" y="266"/>
                  </a:cubicBezTo>
                  <a:cubicBezTo>
                    <a:pt x="373" y="260"/>
                    <a:pt x="378" y="256"/>
                    <a:pt x="384" y="256"/>
                  </a:cubicBezTo>
                  <a:cubicBezTo>
                    <a:pt x="390" y="256"/>
                    <a:pt x="394" y="260"/>
                    <a:pt x="394" y="266"/>
                  </a:cubicBezTo>
                  <a:lnTo>
                    <a:pt x="394" y="384"/>
                  </a:lnTo>
                  <a:close/>
                  <a:moveTo>
                    <a:pt x="394" y="213"/>
                  </a:moveTo>
                  <a:cubicBezTo>
                    <a:pt x="394" y="219"/>
                    <a:pt x="390" y="224"/>
                    <a:pt x="384" y="224"/>
                  </a:cubicBezTo>
                  <a:cubicBezTo>
                    <a:pt x="378" y="224"/>
                    <a:pt x="373" y="219"/>
                    <a:pt x="373" y="213"/>
                  </a:cubicBezTo>
                  <a:cubicBezTo>
                    <a:pt x="373" y="153"/>
                    <a:pt x="373" y="153"/>
                    <a:pt x="373" y="153"/>
                  </a:cubicBezTo>
                  <a:cubicBezTo>
                    <a:pt x="263" y="263"/>
                    <a:pt x="263" y="263"/>
                    <a:pt x="263" y="263"/>
                  </a:cubicBezTo>
                  <a:cubicBezTo>
                    <a:pt x="261" y="265"/>
                    <a:pt x="258" y="266"/>
                    <a:pt x="256" y="266"/>
                  </a:cubicBezTo>
                  <a:cubicBezTo>
                    <a:pt x="253" y="266"/>
                    <a:pt x="250" y="265"/>
                    <a:pt x="248" y="263"/>
                  </a:cubicBezTo>
                  <a:cubicBezTo>
                    <a:pt x="244" y="259"/>
                    <a:pt x="244" y="252"/>
                    <a:pt x="248" y="248"/>
                  </a:cubicBezTo>
                  <a:cubicBezTo>
                    <a:pt x="358" y="138"/>
                    <a:pt x="358" y="138"/>
                    <a:pt x="358" y="138"/>
                  </a:cubicBezTo>
                  <a:cubicBezTo>
                    <a:pt x="298" y="138"/>
                    <a:pt x="298" y="138"/>
                    <a:pt x="298" y="138"/>
                  </a:cubicBezTo>
                  <a:cubicBezTo>
                    <a:pt x="292" y="138"/>
                    <a:pt x="288" y="134"/>
                    <a:pt x="288" y="128"/>
                  </a:cubicBezTo>
                  <a:cubicBezTo>
                    <a:pt x="288" y="122"/>
                    <a:pt x="292" y="117"/>
                    <a:pt x="298" y="117"/>
                  </a:cubicBezTo>
                  <a:cubicBezTo>
                    <a:pt x="384" y="117"/>
                    <a:pt x="384" y="117"/>
                    <a:pt x="384" y="117"/>
                  </a:cubicBezTo>
                  <a:cubicBezTo>
                    <a:pt x="385" y="117"/>
                    <a:pt x="386" y="117"/>
                    <a:pt x="388" y="118"/>
                  </a:cubicBezTo>
                  <a:cubicBezTo>
                    <a:pt x="390" y="119"/>
                    <a:pt x="392" y="121"/>
                    <a:pt x="394" y="124"/>
                  </a:cubicBezTo>
                  <a:cubicBezTo>
                    <a:pt x="394" y="125"/>
                    <a:pt x="394" y="126"/>
                    <a:pt x="394" y="128"/>
                  </a:cubicBezTo>
                  <a:lnTo>
                    <a:pt x="394" y="213"/>
                  </a:ln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0DCF6B7F-FFFC-4BA2-A326-60099D290BCD}"/>
              </a:ext>
            </a:extLst>
          </p:cNvPr>
          <p:cNvGrpSpPr/>
          <p:nvPr/>
        </p:nvGrpSpPr>
        <p:grpSpPr>
          <a:xfrm>
            <a:off x="10007029" y="1971778"/>
            <a:ext cx="360000" cy="1735235"/>
            <a:chOff x="10007713" y="1814415"/>
            <a:chExt cx="360000" cy="1735235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0423A0A4-BF37-48A2-A233-1A9B288A3D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187713" y="2149124"/>
              <a:ext cx="0" cy="140052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Freeform 538">
              <a:extLst>
                <a:ext uri="{FF2B5EF4-FFF2-40B4-BE49-F238E27FC236}">
                  <a16:creationId xmlns:a16="http://schemas.microsoft.com/office/drawing/2014/main" id="{E75327B3-DD64-4D78-81C4-AD46DDEC8FA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007713" y="1814415"/>
              <a:ext cx="360000" cy="360000"/>
            </a:xfrm>
            <a:custGeom>
              <a:avLst/>
              <a:gdLst>
                <a:gd name="T0" fmla="*/ 226 w 512"/>
                <a:gd name="T1" fmla="*/ 352 h 512"/>
                <a:gd name="T2" fmla="*/ 286 w 512"/>
                <a:gd name="T3" fmla="*/ 352 h 512"/>
                <a:gd name="T4" fmla="*/ 279 w 512"/>
                <a:gd name="T5" fmla="*/ 394 h 512"/>
                <a:gd name="T6" fmla="*/ 233 w 512"/>
                <a:gd name="T7" fmla="*/ 394 h 512"/>
                <a:gd name="T8" fmla="*/ 226 w 512"/>
                <a:gd name="T9" fmla="*/ 352 h 512"/>
                <a:gd name="T10" fmla="*/ 256 w 512"/>
                <a:gd name="T11" fmla="*/ 117 h 512"/>
                <a:gd name="T12" fmla="*/ 178 w 512"/>
                <a:gd name="T13" fmla="*/ 191 h 512"/>
                <a:gd name="T14" fmla="*/ 194 w 512"/>
                <a:gd name="T15" fmla="*/ 242 h 512"/>
                <a:gd name="T16" fmla="*/ 224 w 512"/>
                <a:gd name="T17" fmla="*/ 309 h 512"/>
                <a:gd name="T18" fmla="*/ 224 w 512"/>
                <a:gd name="T19" fmla="*/ 330 h 512"/>
                <a:gd name="T20" fmla="*/ 245 w 512"/>
                <a:gd name="T21" fmla="*/ 330 h 512"/>
                <a:gd name="T22" fmla="*/ 245 w 512"/>
                <a:gd name="T23" fmla="*/ 249 h 512"/>
                <a:gd name="T24" fmla="*/ 227 w 512"/>
                <a:gd name="T25" fmla="*/ 231 h 512"/>
                <a:gd name="T26" fmla="*/ 227 w 512"/>
                <a:gd name="T27" fmla="*/ 216 h 512"/>
                <a:gd name="T28" fmla="*/ 242 w 512"/>
                <a:gd name="T29" fmla="*/ 216 h 512"/>
                <a:gd name="T30" fmla="*/ 256 w 512"/>
                <a:gd name="T31" fmla="*/ 230 h 512"/>
                <a:gd name="T32" fmla="*/ 269 w 512"/>
                <a:gd name="T33" fmla="*/ 216 h 512"/>
                <a:gd name="T34" fmla="*/ 285 w 512"/>
                <a:gd name="T35" fmla="*/ 216 h 512"/>
                <a:gd name="T36" fmla="*/ 285 w 512"/>
                <a:gd name="T37" fmla="*/ 231 h 512"/>
                <a:gd name="T38" fmla="*/ 266 w 512"/>
                <a:gd name="T39" fmla="*/ 249 h 512"/>
                <a:gd name="T40" fmla="*/ 266 w 512"/>
                <a:gd name="T41" fmla="*/ 330 h 512"/>
                <a:gd name="T42" fmla="*/ 288 w 512"/>
                <a:gd name="T43" fmla="*/ 330 h 512"/>
                <a:gd name="T44" fmla="*/ 288 w 512"/>
                <a:gd name="T45" fmla="*/ 309 h 512"/>
                <a:gd name="T46" fmla="*/ 318 w 512"/>
                <a:gd name="T47" fmla="*/ 243 h 512"/>
                <a:gd name="T48" fmla="*/ 334 w 512"/>
                <a:gd name="T49" fmla="*/ 191 h 512"/>
                <a:gd name="T50" fmla="*/ 256 w 512"/>
                <a:gd name="T51" fmla="*/ 117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56 w 512"/>
                <a:gd name="T63" fmla="*/ 191 h 512"/>
                <a:gd name="T64" fmla="*/ 256 w 512"/>
                <a:gd name="T65" fmla="*/ 96 h 512"/>
                <a:gd name="T66" fmla="*/ 256 w 512"/>
                <a:gd name="T67" fmla="*/ 96 h 512"/>
                <a:gd name="T68" fmla="*/ 256 w 512"/>
                <a:gd name="T69" fmla="*/ 96 h 512"/>
                <a:gd name="T70" fmla="*/ 256 w 512"/>
                <a:gd name="T71" fmla="*/ 96 h 512"/>
                <a:gd name="T72" fmla="*/ 255 w 512"/>
                <a:gd name="T73" fmla="*/ 96 h 512"/>
                <a:gd name="T74" fmla="*/ 157 w 512"/>
                <a:gd name="T75" fmla="*/ 191 h 512"/>
                <a:gd name="T76" fmla="*/ 176 w 512"/>
                <a:gd name="T77" fmla="*/ 254 h 512"/>
                <a:gd name="T78" fmla="*/ 202 w 512"/>
                <a:gd name="T79" fmla="*/ 309 h 512"/>
                <a:gd name="T80" fmla="*/ 202 w 512"/>
                <a:gd name="T81" fmla="*/ 341 h 512"/>
                <a:gd name="T82" fmla="*/ 203 w 512"/>
                <a:gd name="T83" fmla="*/ 342 h 512"/>
                <a:gd name="T84" fmla="*/ 202 w 512"/>
                <a:gd name="T85" fmla="*/ 343 h 512"/>
                <a:gd name="T86" fmla="*/ 213 w 512"/>
                <a:gd name="T87" fmla="*/ 407 h 512"/>
                <a:gd name="T88" fmla="*/ 224 w 512"/>
                <a:gd name="T89" fmla="*/ 416 h 512"/>
                <a:gd name="T90" fmla="*/ 288 w 512"/>
                <a:gd name="T91" fmla="*/ 416 h 512"/>
                <a:gd name="T92" fmla="*/ 298 w 512"/>
                <a:gd name="T93" fmla="*/ 407 h 512"/>
                <a:gd name="T94" fmla="*/ 309 w 512"/>
                <a:gd name="T95" fmla="*/ 343 h 512"/>
                <a:gd name="T96" fmla="*/ 309 w 512"/>
                <a:gd name="T97" fmla="*/ 342 h 512"/>
                <a:gd name="T98" fmla="*/ 309 w 512"/>
                <a:gd name="T99" fmla="*/ 341 h 512"/>
                <a:gd name="T100" fmla="*/ 309 w 512"/>
                <a:gd name="T101" fmla="*/ 309 h 512"/>
                <a:gd name="T102" fmla="*/ 336 w 512"/>
                <a:gd name="T103" fmla="*/ 254 h 512"/>
                <a:gd name="T104" fmla="*/ 356 w 512"/>
                <a:gd name="T105" fmla="*/ 1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26" y="352"/>
                  </a:moveTo>
                  <a:cubicBezTo>
                    <a:pt x="286" y="352"/>
                    <a:pt x="286" y="352"/>
                    <a:pt x="286" y="352"/>
                  </a:cubicBezTo>
                  <a:cubicBezTo>
                    <a:pt x="279" y="394"/>
                    <a:pt x="279" y="394"/>
                    <a:pt x="279" y="394"/>
                  </a:cubicBezTo>
                  <a:cubicBezTo>
                    <a:pt x="233" y="394"/>
                    <a:pt x="233" y="394"/>
                    <a:pt x="233" y="394"/>
                  </a:cubicBezTo>
                  <a:lnTo>
                    <a:pt x="226" y="352"/>
                  </a:lnTo>
                  <a:close/>
                  <a:moveTo>
                    <a:pt x="256" y="117"/>
                  </a:moveTo>
                  <a:cubicBezTo>
                    <a:pt x="214" y="117"/>
                    <a:pt x="178" y="151"/>
                    <a:pt x="178" y="191"/>
                  </a:cubicBezTo>
                  <a:cubicBezTo>
                    <a:pt x="178" y="219"/>
                    <a:pt x="194" y="242"/>
                    <a:pt x="194" y="242"/>
                  </a:cubicBezTo>
                  <a:cubicBezTo>
                    <a:pt x="201" y="254"/>
                    <a:pt x="224" y="292"/>
                    <a:pt x="224" y="309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27" y="231"/>
                    <a:pt x="227" y="231"/>
                    <a:pt x="227" y="231"/>
                  </a:cubicBezTo>
                  <a:cubicBezTo>
                    <a:pt x="223" y="227"/>
                    <a:pt x="223" y="220"/>
                    <a:pt x="227" y="216"/>
                  </a:cubicBezTo>
                  <a:cubicBezTo>
                    <a:pt x="231" y="212"/>
                    <a:pt x="238" y="212"/>
                    <a:pt x="242" y="216"/>
                  </a:cubicBezTo>
                  <a:cubicBezTo>
                    <a:pt x="256" y="230"/>
                    <a:pt x="256" y="230"/>
                    <a:pt x="256" y="230"/>
                  </a:cubicBezTo>
                  <a:cubicBezTo>
                    <a:pt x="269" y="216"/>
                    <a:pt x="269" y="216"/>
                    <a:pt x="269" y="216"/>
                  </a:cubicBezTo>
                  <a:cubicBezTo>
                    <a:pt x="274" y="212"/>
                    <a:pt x="280" y="212"/>
                    <a:pt x="285" y="216"/>
                  </a:cubicBezTo>
                  <a:cubicBezTo>
                    <a:pt x="289" y="220"/>
                    <a:pt x="289" y="227"/>
                    <a:pt x="285" y="231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6" y="330"/>
                    <a:pt x="266" y="330"/>
                    <a:pt x="266" y="330"/>
                  </a:cubicBezTo>
                  <a:cubicBezTo>
                    <a:pt x="288" y="330"/>
                    <a:pt x="288" y="330"/>
                    <a:pt x="288" y="330"/>
                  </a:cubicBezTo>
                  <a:cubicBezTo>
                    <a:pt x="288" y="309"/>
                    <a:pt x="288" y="309"/>
                    <a:pt x="288" y="309"/>
                  </a:cubicBezTo>
                  <a:cubicBezTo>
                    <a:pt x="288" y="292"/>
                    <a:pt x="311" y="254"/>
                    <a:pt x="318" y="243"/>
                  </a:cubicBezTo>
                  <a:cubicBezTo>
                    <a:pt x="318" y="242"/>
                    <a:pt x="334" y="218"/>
                    <a:pt x="334" y="191"/>
                  </a:cubicBezTo>
                  <a:cubicBezTo>
                    <a:pt x="334" y="151"/>
                    <a:pt x="298" y="117"/>
                    <a:pt x="256" y="11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56" y="191"/>
                  </a:moveTo>
                  <a:cubicBezTo>
                    <a:pt x="356" y="140"/>
                    <a:pt x="31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5" y="96"/>
                  </a:cubicBezTo>
                  <a:cubicBezTo>
                    <a:pt x="202" y="96"/>
                    <a:pt x="157" y="140"/>
                    <a:pt x="157" y="191"/>
                  </a:cubicBezTo>
                  <a:cubicBezTo>
                    <a:pt x="157" y="225"/>
                    <a:pt x="175" y="253"/>
                    <a:pt x="176" y="254"/>
                  </a:cubicBezTo>
                  <a:cubicBezTo>
                    <a:pt x="189" y="275"/>
                    <a:pt x="202" y="302"/>
                    <a:pt x="202" y="309"/>
                  </a:cubicBezTo>
                  <a:cubicBezTo>
                    <a:pt x="202" y="341"/>
                    <a:pt x="202" y="341"/>
                    <a:pt x="202" y="341"/>
                  </a:cubicBezTo>
                  <a:cubicBezTo>
                    <a:pt x="202" y="341"/>
                    <a:pt x="202" y="342"/>
                    <a:pt x="203" y="342"/>
                  </a:cubicBezTo>
                  <a:cubicBezTo>
                    <a:pt x="203" y="342"/>
                    <a:pt x="202" y="342"/>
                    <a:pt x="202" y="343"/>
                  </a:cubicBezTo>
                  <a:cubicBezTo>
                    <a:pt x="213" y="407"/>
                    <a:pt x="213" y="407"/>
                    <a:pt x="213" y="407"/>
                  </a:cubicBezTo>
                  <a:cubicBezTo>
                    <a:pt x="214" y="412"/>
                    <a:pt x="218" y="416"/>
                    <a:pt x="224" y="416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93" y="416"/>
                    <a:pt x="297" y="412"/>
                    <a:pt x="298" y="407"/>
                  </a:cubicBezTo>
                  <a:cubicBezTo>
                    <a:pt x="309" y="343"/>
                    <a:pt x="309" y="343"/>
                    <a:pt x="309" y="343"/>
                  </a:cubicBezTo>
                  <a:cubicBezTo>
                    <a:pt x="309" y="342"/>
                    <a:pt x="309" y="342"/>
                    <a:pt x="309" y="342"/>
                  </a:cubicBezTo>
                  <a:cubicBezTo>
                    <a:pt x="309" y="342"/>
                    <a:pt x="309" y="341"/>
                    <a:pt x="309" y="341"/>
                  </a:cubicBezTo>
                  <a:cubicBezTo>
                    <a:pt x="309" y="309"/>
                    <a:pt x="309" y="309"/>
                    <a:pt x="309" y="309"/>
                  </a:cubicBezTo>
                  <a:cubicBezTo>
                    <a:pt x="309" y="302"/>
                    <a:pt x="323" y="275"/>
                    <a:pt x="336" y="254"/>
                  </a:cubicBezTo>
                  <a:cubicBezTo>
                    <a:pt x="337" y="253"/>
                    <a:pt x="356" y="225"/>
                    <a:pt x="356" y="191"/>
                  </a:cubicBez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A2052C8-34A9-43F4-94FF-A5499F2D48A8}"/>
              </a:ext>
            </a:extLst>
          </p:cNvPr>
          <p:cNvGrpSpPr/>
          <p:nvPr/>
        </p:nvGrpSpPr>
        <p:grpSpPr>
          <a:xfrm>
            <a:off x="802216" y="1971778"/>
            <a:ext cx="360000" cy="554135"/>
            <a:chOff x="809074" y="1814415"/>
            <a:chExt cx="360000" cy="554135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1EFD6FDE-E8A9-4084-B558-FC5DAB57F46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89074" y="2149124"/>
              <a:ext cx="0" cy="21942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Freeform 669">
              <a:extLst>
                <a:ext uri="{FF2B5EF4-FFF2-40B4-BE49-F238E27FC236}">
                  <a16:creationId xmlns:a16="http://schemas.microsoft.com/office/drawing/2014/main" id="{0704107C-EA38-4EED-92A6-EF018DFCABC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9074" y="1814415"/>
              <a:ext cx="360000" cy="360000"/>
            </a:xfrm>
            <a:custGeom>
              <a:avLst/>
              <a:gdLst>
                <a:gd name="T0" fmla="*/ 181 w 512"/>
                <a:gd name="T1" fmla="*/ 160 h 512"/>
                <a:gd name="T2" fmla="*/ 320 w 512"/>
                <a:gd name="T3" fmla="*/ 160 h 512"/>
                <a:gd name="T4" fmla="*/ 320 w 512"/>
                <a:gd name="T5" fmla="*/ 352 h 512"/>
                <a:gd name="T6" fmla="*/ 181 w 512"/>
                <a:gd name="T7" fmla="*/ 352 h 512"/>
                <a:gd name="T8" fmla="*/ 181 w 512"/>
                <a:gd name="T9" fmla="*/ 160 h 512"/>
                <a:gd name="T10" fmla="*/ 288 w 512"/>
                <a:gd name="T11" fmla="*/ 117 h 512"/>
                <a:gd name="T12" fmla="*/ 224 w 512"/>
                <a:gd name="T13" fmla="*/ 117 h 512"/>
                <a:gd name="T14" fmla="*/ 224 w 512"/>
                <a:gd name="T15" fmla="*/ 138 h 512"/>
                <a:gd name="T16" fmla="*/ 288 w 512"/>
                <a:gd name="T17" fmla="*/ 138 h 512"/>
                <a:gd name="T18" fmla="*/ 288 w 512"/>
                <a:gd name="T19" fmla="*/ 117 h 512"/>
                <a:gd name="T20" fmla="*/ 117 w 512"/>
                <a:gd name="T21" fmla="*/ 352 h 512"/>
                <a:gd name="T22" fmla="*/ 160 w 512"/>
                <a:gd name="T23" fmla="*/ 352 h 512"/>
                <a:gd name="T24" fmla="*/ 160 w 512"/>
                <a:gd name="T25" fmla="*/ 160 h 512"/>
                <a:gd name="T26" fmla="*/ 117 w 512"/>
                <a:gd name="T27" fmla="*/ 160 h 512"/>
                <a:gd name="T28" fmla="*/ 117 w 512"/>
                <a:gd name="T29" fmla="*/ 352 h 512"/>
                <a:gd name="T30" fmla="*/ 341 w 512"/>
                <a:gd name="T31" fmla="*/ 352 h 512"/>
                <a:gd name="T32" fmla="*/ 394 w 512"/>
                <a:gd name="T33" fmla="*/ 352 h 512"/>
                <a:gd name="T34" fmla="*/ 394 w 512"/>
                <a:gd name="T35" fmla="*/ 160 h 512"/>
                <a:gd name="T36" fmla="*/ 341 w 512"/>
                <a:gd name="T37" fmla="*/ 160 h 512"/>
                <a:gd name="T38" fmla="*/ 341 w 512"/>
                <a:gd name="T39" fmla="*/ 352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416 w 512"/>
                <a:gd name="T51" fmla="*/ 149 h 512"/>
                <a:gd name="T52" fmla="*/ 405 w 512"/>
                <a:gd name="T53" fmla="*/ 138 h 512"/>
                <a:gd name="T54" fmla="*/ 309 w 512"/>
                <a:gd name="T55" fmla="*/ 138 h 512"/>
                <a:gd name="T56" fmla="*/ 309 w 512"/>
                <a:gd name="T57" fmla="*/ 106 h 512"/>
                <a:gd name="T58" fmla="*/ 298 w 512"/>
                <a:gd name="T59" fmla="*/ 96 h 512"/>
                <a:gd name="T60" fmla="*/ 213 w 512"/>
                <a:gd name="T61" fmla="*/ 96 h 512"/>
                <a:gd name="T62" fmla="*/ 202 w 512"/>
                <a:gd name="T63" fmla="*/ 106 h 512"/>
                <a:gd name="T64" fmla="*/ 202 w 512"/>
                <a:gd name="T65" fmla="*/ 138 h 512"/>
                <a:gd name="T66" fmla="*/ 106 w 512"/>
                <a:gd name="T67" fmla="*/ 138 h 512"/>
                <a:gd name="T68" fmla="*/ 96 w 512"/>
                <a:gd name="T69" fmla="*/ 149 h 512"/>
                <a:gd name="T70" fmla="*/ 96 w 512"/>
                <a:gd name="T71" fmla="*/ 362 h 512"/>
                <a:gd name="T72" fmla="*/ 106 w 512"/>
                <a:gd name="T73" fmla="*/ 373 h 512"/>
                <a:gd name="T74" fmla="*/ 405 w 512"/>
                <a:gd name="T75" fmla="*/ 373 h 512"/>
                <a:gd name="T76" fmla="*/ 416 w 512"/>
                <a:gd name="T77" fmla="*/ 362 h 512"/>
                <a:gd name="T78" fmla="*/ 416 w 512"/>
                <a:gd name="T79" fmla="*/ 14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181" y="160"/>
                  </a:moveTo>
                  <a:cubicBezTo>
                    <a:pt x="320" y="160"/>
                    <a:pt x="320" y="160"/>
                    <a:pt x="320" y="160"/>
                  </a:cubicBezTo>
                  <a:cubicBezTo>
                    <a:pt x="320" y="352"/>
                    <a:pt x="320" y="352"/>
                    <a:pt x="320" y="352"/>
                  </a:cubicBezTo>
                  <a:cubicBezTo>
                    <a:pt x="181" y="352"/>
                    <a:pt x="181" y="352"/>
                    <a:pt x="181" y="352"/>
                  </a:cubicBezTo>
                  <a:lnTo>
                    <a:pt x="181" y="160"/>
                  </a:lnTo>
                  <a:close/>
                  <a:moveTo>
                    <a:pt x="288" y="117"/>
                  </a:moveTo>
                  <a:cubicBezTo>
                    <a:pt x="224" y="117"/>
                    <a:pt x="224" y="117"/>
                    <a:pt x="224" y="117"/>
                  </a:cubicBezTo>
                  <a:cubicBezTo>
                    <a:pt x="224" y="138"/>
                    <a:pt x="224" y="138"/>
                    <a:pt x="224" y="138"/>
                  </a:cubicBezTo>
                  <a:cubicBezTo>
                    <a:pt x="288" y="138"/>
                    <a:pt x="288" y="138"/>
                    <a:pt x="288" y="138"/>
                  </a:cubicBezTo>
                  <a:lnTo>
                    <a:pt x="288" y="117"/>
                  </a:lnTo>
                  <a:close/>
                  <a:moveTo>
                    <a:pt x="117" y="352"/>
                  </a:moveTo>
                  <a:cubicBezTo>
                    <a:pt x="160" y="352"/>
                    <a:pt x="160" y="352"/>
                    <a:pt x="160" y="352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17" y="160"/>
                    <a:pt x="117" y="160"/>
                    <a:pt x="117" y="160"/>
                  </a:cubicBezTo>
                  <a:lnTo>
                    <a:pt x="117" y="352"/>
                  </a:lnTo>
                  <a:close/>
                  <a:moveTo>
                    <a:pt x="341" y="352"/>
                  </a:moveTo>
                  <a:cubicBezTo>
                    <a:pt x="394" y="352"/>
                    <a:pt x="394" y="352"/>
                    <a:pt x="394" y="352"/>
                  </a:cubicBezTo>
                  <a:cubicBezTo>
                    <a:pt x="394" y="160"/>
                    <a:pt x="394" y="160"/>
                    <a:pt x="394" y="160"/>
                  </a:cubicBezTo>
                  <a:cubicBezTo>
                    <a:pt x="341" y="160"/>
                    <a:pt x="341" y="160"/>
                    <a:pt x="341" y="160"/>
                  </a:cubicBezTo>
                  <a:lnTo>
                    <a:pt x="341" y="352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149"/>
                  </a:moveTo>
                  <a:cubicBezTo>
                    <a:pt x="416" y="143"/>
                    <a:pt x="411" y="138"/>
                    <a:pt x="405" y="138"/>
                  </a:cubicBezTo>
                  <a:cubicBezTo>
                    <a:pt x="309" y="138"/>
                    <a:pt x="309" y="138"/>
                    <a:pt x="309" y="138"/>
                  </a:cubicBezTo>
                  <a:cubicBezTo>
                    <a:pt x="309" y="106"/>
                    <a:pt x="309" y="106"/>
                    <a:pt x="309" y="106"/>
                  </a:cubicBezTo>
                  <a:cubicBezTo>
                    <a:pt x="309" y="100"/>
                    <a:pt x="304" y="96"/>
                    <a:pt x="298" y="96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07" y="96"/>
                    <a:pt x="202" y="100"/>
                    <a:pt x="202" y="106"/>
                  </a:cubicBezTo>
                  <a:cubicBezTo>
                    <a:pt x="202" y="138"/>
                    <a:pt x="202" y="138"/>
                    <a:pt x="202" y="138"/>
                  </a:cubicBezTo>
                  <a:cubicBezTo>
                    <a:pt x="106" y="138"/>
                    <a:pt x="106" y="138"/>
                    <a:pt x="106" y="138"/>
                  </a:cubicBezTo>
                  <a:cubicBezTo>
                    <a:pt x="100" y="138"/>
                    <a:pt x="96" y="143"/>
                    <a:pt x="96" y="149"/>
                  </a:cubicBezTo>
                  <a:cubicBezTo>
                    <a:pt x="96" y="362"/>
                    <a:pt x="96" y="362"/>
                    <a:pt x="96" y="362"/>
                  </a:cubicBezTo>
                  <a:cubicBezTo>
                    <a:pt x="96" y="368"/>
                    <a:pt x="100" y="373"/>
                    <a:pt x="106" y="373"/>
                  </a:cubicBezTo>
                  <a:cubicBezTo>
                    <a:pt x="405" y="373"/>
                    <a:pt x="405" y="373"/>
                    <a:pt x="405" y="373"/>
                  </a:cubicBezTo>
                  <a:cubicBezTo>
                    <a:pt x="411" y="373"/>
                    <a:pt x="416" y="368"/>
                    <a:pt x="416" y="362"/>
                  </a:cubicBezTo>
                  <a:lnTo>
                    <a:pt x="416" y="149"/>
                  </a:ln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EF52283A-21DD-475E-80DE-5F32AC16302C}"/>
              </a:ext>
            </a:extLst>
          </p:cNvPr>
          <p:cNvGrpSpPr/>
          <p:nvPr/>
        </p:nvGrpSpPr>
        <p:grpSpPr>
          <a:xfrm>
            <a:off x="287999" y="5141471"/>
            <a:ext cx="11588400" cy="1004086"/>
            <a:chOff x="337162" y="4635537"/>
            <a:chExt cx="11424018" cy="1086805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BF7B401-EFFC-4905-B1A7-828AF02A36EF}"/>
                </a:ext>
              </a:extLst>
            </p:cNvPr>
            <p:cNvSpPr/>
            <p:nvPr/>
          </p:nvSpPr>
          <p:spPr bwMode="gray">
            <a:xfrm>
              <a:off x="3189254" y="4635537"/>
              <a:ext cx="2869155" cy="1086805"/>
            </a:xfrm>
            <a:prstGeom prst="rect">
              <a:avLst/>
            </a:prstGeom>
            <a:solidFill>
              <a:srgbClr val="FF964C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830" tIns="88830" rIns="88830" bIns="8883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$6.9 </a:t>
              </a:r>
              <a:r>
                <a:rPr kumimoji="0" lang="en-US" sz="3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Mld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-4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Losses companies experienced only in 2021 due to internet-enabled crimes</a:t>
              </a:r>
              <a:endParaRPr kumimoji="0" lang="en-US" sz="1100" b="0" i="0" u="none" strike="noStrike" kern="1200" cap="none" spc="-3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54B762A-9279-44BA-9934-E397F4EF69E3}"/>
                </a:ext>
              </a:extLst>
            </p:cNvPr>
            <p:cNvSpPr/>
            <p:nvPr/>
          </p:nvSpPr>
          <p:spPr bwMode="gray">
            <a:xfrm>
              <a:off x="8892025" y="4635537"/>
              <a:ext cx="2869155" cy="1086805"/>
            </a:xfrm>
            <a:prstGeom prst="rect">
              <a:avLst/>
            </a:prstGeom>
            <a:solidFill>
              <a:srgbClr val="7F7F7F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830" tIns="88830" rIns="88830" bIns="8883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$4.24M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Average total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 cost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of 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 data breach</a:t>
              </a:r>
              <a:endPara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7BB6A67E-DDFD-4ECC-A45B-A74091C60329}"/>
                </a:ext>
              </a:extLst>
            </p:cNvPr>
            <p:cNvSpPr/>
            <p:nvPr/>
          </p:nvSpPr>
          <p:spPr bwMode="gray">
            <a:xfrm>
              <a:off x="337162" y="4635537"/>
              <a:ext cx="2870568" cy="1086805"/>
            </a:xfrm>
            <a:prstGeom prst="rect">
              <a:avLst/>
            </a:prstGeom>
            <a:solidFill>
              <a:srgbClr val="FF6A00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830" tIns="88830" rIns="88830" bIns="8883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547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Incidents for th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TMT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 sector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AF0EED52-65E9-4144-8AF0-492047280718}"/>
                </a:ext>
              </a:extLst>
            </p:cNvPr>
            <p:cNvSpPr/>
            <p:nvPr/>
          </p:nvSpPr>
          <p:spPr bwMode="gray">
            <a:xfrm>
              <a:off x="6039933" y="4635537"/>
              <a:ext cx="2870568" cy="1086805"/>
            </a:xfrm>
            <a:prstGeom prst="rect">
              <a:avLst/>
            </a:prstGeom>
            <a:solidFill>
              <a:srgbClr val="BFBFBF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830" tIns="88830" rIns="88830" bIns="8883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$4.62M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-4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Average cost for organizations affected by a </a:t>
              </a:r>
              <a:r>
                <a:rPr kumimoji="0" lang="en-US" sz="1100" b="1" i="0" u="none" strike="noStrike" kern="1200" cap="none" spc="-4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Ransomware attack</a:t>
              </a:r>
            </a:p>
          </p:txBody>
        </p:sp>
      </p:grp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93EA31B-B81F-42EA-8B5B-518733B4F10F}"/>
              </a:ext>
            </a:extLst>
          </p:cNvPr>
          <p:cNvCxnSpPr/>
          <p:nvPr/>
        </p:nvCxnSpPr>
        <p:spPr>
          <a:xfrm>
            <a:off x="438089" y="4033209"/>
            <a:ext cx="1133660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xtBox:392/196">
            <a:extLst>
              <a:ext uri="{FF2B5EF4-FFF2-40B4-BE49-F238E27FC236}">
                <a16:creationId xmlns:a16="http://schemas.microsoft.com/office/drawing/2014/main" id="{51A06311-C171-4267-A9B1-BF8C5655A688}"/>
              </a:ext>
            </a:extLst>
          </p:cNvPr>
          <p:cNvSpPr/>
          <p:nvPr/>
        </p:nvSpPr>
        <p:spPr>
          <a:xfrm>
            <a:off x="4930232" y="1543798"/>
            <a:ext cx="2331536" cy="184666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#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 Light" panose="020F0302020204030204" pitchFamily="34" charset="0"/>
                <a:sym typeface="Arial" panose="020B0604020202020204" pitchFamily="34" charset="0"/>
              </a:rPr>
              <a:t>Cyber Worldwide Incident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1" name="TxtBox:392/196">
            <a:extLst>
              <a:ext uri="{FF2B5EF4-FFF2-40B4-BE49-F238E27FC236}">
                <a16:creationId xmlns:a16="http://schemas.microsoft.com/office/drawing/2014/main" id="{605F29D9-6496-4E78-901A-1C0987824258}"/>
              </a:ext>
            </a:extLst>
          </p:cNvPr>
          <p:cNvSpPr/>
          <p:nvPr/>
        </p:nvSpPr>
        <p:spPr>
          <a:xfrm>
            <a:off x="5218195" y="4877803"/>
            <a:ext cx="1755609" cy="184666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Impact of Cybercrime</a:t>
            </a:r>
          </a:p>
        </p:txBody>
      </p:sp>
      <p:sp>
        <p:nvSpPr>
          <p:cNvPr id="102" name="Rectangular Callout 4">
            <a:extLst>
              <a:ext uri="{FF2B5EF4-FFF2-40B4-BE49-F238E27FC236}">
                <a16:creationId xmlns:a16="http://schemas.microsoft.com/office/drawing/2014/main" id="{9957FD31-C33E-4541-8B30-597D01ADC563}"/>
              </a:ext>
            </a:extLst>
          </p:cNvPr>
          <p:cNvSpPr/>
          <p:nvPr/>
        </p:nvSpPr>
        <p:spPr>
          <a:xfrm>
            <a:off x="1473600" y="4439938"/>
            <a:ext cx="4320140" cy="313971"/>
          </a:xfrm>
          <a:prstGeom prst="wedgeRectCallout">
            <a:avLst>
              <a:gd name="adj1" fmla="val -14969"/>
              <a:gd name="adj2" fmla="val -93118"/>
            </a:avLst>
          </a:prstGeom>
          <a:solidFill>
            <a:schemeClr val="bg1"/>
          </a:solidFill>
          <a:ln w="9525" algn="ctr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M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 one of the sector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st affected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yber Incidents</a:t>
            </a:r>
          </a:p>
        </p:txBody>
      </p:sp>
    </p:spTree>
    <p:extLst>
      <p:ext uri="{BB962C8B-B14F-4D97-AF65-F5344CB8AC3E}">
        <p14:creationId xmlns:p14="http://schemas.microsoft.com/office/powerpoint/2010/main" val="2822589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HL5DsjShWVuDjjApp9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sjQJnRG1qCYuy_pSmR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bLpx0yaINCwE7Nxiwv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W3_Lean Template_16x9">
  <a:themeElements>
    <a:clrScheme name="W3 Colors - 2020">
      <a:dk1>
        <a:srgbClr val="000000"/>
      </a:dk1>
      <a:lt1>
        <a:srgbClr val="FFFFFF"/>
      </a:lt1>
      <a:dk2>
        <a:srgbClr val="97999B"/>
      </a:dk2>
      <a:lt2>
        <a:srgbClr val="DCDEE0"/>
      </a:lt2>
      <a:accent1>
        <a:srgbClr val="5BB4E5"/>
      </a:accent1>
      <a:accent2>
        <a:srgbClr val="6E8FC9"/>
      </a:accent2>
      <a:accent3>
        <a:srgbClr val="FF6A00"/>
      </a:accent3>
      <a:accent4>
        <a:srgbClr val="009900"/>
      </a:accent4>
      <a:accent5>
        <a:srgbClr val="97CCC4"/>
      </a:accent5>
      <a:accent6>
        <a:srgbClr val="B483AE"/>
      </a:accent6>
      <a:hlink>
        <a:srgbClr val="0070C0"/>
      </a:hlink>
      <a:folHlink>
        <a:srgbClr val="C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chemeClr val="bg2">
              <a:lumMod val="75000"/>
            </a:schemeClr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400">
          <a:defRPr sz="2000" b="1" dirty="0">
            <a:solidFill>
              <a:schemeClr val="tx1"/>
            </a:solidFill>
          </a:defRPr>
        </a:defPPr>
      </a:lstStyle>
      <a:style>
        <a:lnRef idx="0">
          <a:schemeClr val="dk1"/>
        </a:lnRef>
        <a:fillRef idx="3">
          <a:schemeClr val="dk1"/>
        </a:fillRef>
        <a:effectRef idx="3">
          <a:schemeClr val="dk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rm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3_Lean Template_16x9.potx" id="{4D7FD3A3-5C62-4B71-B992-CFA94EBC46E9}" vid="{45E9266F-4059-426E-AC8F-04F7A0F7F82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58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2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5" baseType="lpstr">
      <vt:lpstr>Arial</vt:lpstr>
      <vt:lpstr>Wingdings 2</vt:lpstr>
      <vt:lpstr>2_W3_Lean Template_16x9</vt:lpstr>
      <vt:lpstr>Diapositiva think-cell</vt:lpstr>
      <vt:lpstr>Cyber Incidents Worldw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Incidents Worldwide</dc:title>
  <dc:creator>Maricchiolo Daniela</dc:creator>
  <cp:lastModifiedBy>Mario Massone</cp:lastModifiedBy>
  <cp:revision>2</cp:revision>
  <dcterms:created xsi:type="dcterms:W3CDTF">2023-05-15T10:29:09Z</dcterms:created>
  <dcterms:modified xsi:type="dcterms:W3CDTF">2023-05-15T10:3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d610d34-da70-4fde-8896-8a8eb0cb2f3b_Enabled">
    <vt:lpwstr>true</vt:lpwstr>
  </property>
  <property fmtid="{D5CDD505-2E9C-101B-9397-08002B2CF9AE}" pid="3" name="MSIP_Label_5d610d34-da70-4fde-8896-8a8eb0cb2f3b_SetDate">
    <vt:lpwstr>2023-05-15T10:29:09Z</vt:lpwstr>
  </property>
  <property fmtid="{D5CDD505-2E9C-101B-9397-08002B2CF9AE}" pid="4" name="MSIP_Label_5d610d34-da70-4fde-8896-8a8eb0cb2f3b_Method">
    <vt:lpwstr>Standard</vt:lpwstr>
  </property>
  <property fmtid="{D5CDD505-2E9C-101B-9397-08002B2CF9AE}" pid="5" name="MSIP_Label_5d610d34-da70-4fde-8896-8a8eb0cb2f3b_Name">
    <vt:lpwstr>No Encryption</vt:lpwstr>
  </property>
  <property fmtid="{D5CDD505-2E9C-101B-9397-08002B2CF9AE}" pid="6" name="MSIP_Label_5d610d34-da70-4fde-8896-8a8eb0cb2f3b_SiteId">
    <vt:lpwstr>86fb8e1f-02bd-4434-96ae-aa3ef467ada8</vt:lpwstr>
  </property>
  <property fmtid="{D5CDD505-2E9C-101B-9397-08002B2CF9AE}" pid="7" name="MSIP_Label_5d610d34-da70-4fde-8896-8a8eb0cb2f3b_ActionId">
    <vt:lpwstr>fa4f8b07-24d8-4529-8bcc-940c471609dd</vt:lpwstr>
  </property>
  <property fmtid="{D5CDD505-2E9C-101B-9397-08002B2CF9AE}" pid="8" name="MSIP_Label_5d610d34-da70-4fde-8896-8a8eb0cb2f3b_ContentBits">
    <vt:lpwstr>0</vt:lpwstr>
  </property>
</Properties>
</file>